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16" r:id="rId2"/>
    <p:sldId id="417" r:id="rId3"/>
    <p:sldId id="698" r:id="rId4"/>
    <p:sldId id="678" r:id="rId5"/>
    <p:sldId id="461" r:id="rId6"/>
    <p:sldId id="494" r:id="rId7"/>
    <p:sldId id="680" r:id="rId8"/>
    <p:sldId id="682" r:id="rId9"/>
    <p:sldId id="683" r:id="rId10"/>
    <p:sldId id="684" r:id="rId11"/>
    <p:sldId id="697" r:id="rId12"/>
    <p:sldId id="681" r:id="rId13"/>
    <p:sldId id="700" r:id="rId14"/>
    <p:sldId id="701" r:id="rId15"/>
    <p:sldId id="695" r:id="rId16"/>
    <p:sldId id="702" r:id="rId17"/>
    <p:sldId id="690" r:id="rId18"/>
  </p:sldIdLst>
  <p:sldSz cx="9144000" cy="6858000" type="screen4x3"/>
  <p:notesSz cx="9926638" cy="6858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loe" initials="c" lastIdx="2" clrIdx="0"/>
  <p:cmAuthor id="1" name="LEENAERTS Yves (DEVCO-EXT)" initials="LY" lastIdx="11" clrIdx="1"/>
  <p:cmAuthor id="2" name="Karen McHugh" initials="KM" lastIdx="17" clrIdx="2">
    <p:extLst/>
  </p:cmAuthor>
  <p:cmAuthor id="3" name="Saskia" initials="svc" lastIdx="4" clrIdx="3"/>
  <p:cmAuthor id="4" name="DILLON Bridget (DEVCO)" initials="BD" lastIdx="1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494"/>
    <a:srgbClr val="006600"/>
    <a:srgbClr val="009900"/>
    <a:srgbClr val="FFFF66"/>
    <a:srgbClr val="FFDDFF"/>
    <a:srgbClr val="FFCCFF"/>
    <a:srgbClr val="E88D08"/>
    <a:srgbClr val="E5970B"/>
    <a:srgbClr val="66FF33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15" autoAdjust="0"/>
    <p:restoredTop sz="82060" autoAdjust="0"/>
  </p:normalViewPr>
  <p:slideViewPr>
    <p:cSldViewPr>
      <p:cViewPr varScale="1">
        <p:scale>
          <a:sx n="61" d="100"/>
          <a:sy n="61" d="100"/>
        </p:scale>
        <p:origin x="1746" y="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31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624" cy="34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1695" y="0"/>
            <a:ext cx="4302624" cy="34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620"/>
            <a:ext cx="4302624" cy="34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1695" y="6513620"/>
            <a:ext cx="4302624" cy="34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00A49D6-C6AA-4DC8-AFC3-6BB2070831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1604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624" cy="34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1695" y="0"/>
            <a:ext cx="4302624" cy="34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51200" y="514350"/>
            <a:ext cx="3427413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01" y="3257358"/>
            <a:ext cx="7942237" cy="308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620"/>
            <a:ext cx="4302624" cy="34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1695" y="6513620"/>
            <a:ext cx="4302624" cy="34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64" tIns="45883" rIns="91764" bIns="45883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7814935-7ECE-468D-893E-19C4D3C5563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6945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FFF3BA-A2CF-403C-93D9-8425C9B305BA}" type="slidenum">
              <a:rPr lang="en-GB" smtClean="0">
                <a:latin typeface="Arial" pitchFamily="34" charset="0"/>
              </a:rPr>
              <a:pPr/>
              <a:t>1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6183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1D05AF-5295-4D51-B51F-7B19352507F2}" type="slidenum">
              <a:rPr lang="en-GB" smtClean="0">
                <a:latin typeface="Arial" pitchFamily="34" charset="0"/>
              </a:rPr>
              <a:pPr/>
              <a:t>10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49613" y="514350"/>
            <a:ext cx="3427412" cy="2571750"/>
          </a:xfrm>
          <a:solidFill>
            <a:srgbClr val="FFFFFF"/>
          </a:solidFill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</a:ln>
        </p:spPr>
        <p:txBody>
          <a:bodyPr lIns="93321" tIns="46660" rIns="93321" bIns="46660"/>
          <a:lstStyle/>
          <a:p>
            <a:pPr eaLnBrk="1" hangingPunct="1">
              <a:spcBef>
                <a:spcPct val="0"/>
              </a:spcBef>
            </a:pP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4018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1" dirty="0">
              <a:solidFill>
                <a:srgbClr val="0099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814935-7ECE-468D-893E-19C4D3C5563E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332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baseline="0" dirty="0" smtClean="0">
              <a:latin typeface="Arial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5586" indent="-286764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7056" indent="-229411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5878" indent="-229411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64701" indent="-229411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23523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82346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41168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99990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/>
            <a:fld id="{A7F97E84-4F59-4ECC-878C-ACAAA2DCAE1F}" type="slidenum">
              <a:rPr lang="en-GB" altLang="en-US" smtClean="0">
                <a:solidFill>
                  <a:schemeClr val="tx1"/>
                </a:solidFill>
                <a:latin typeface="Arial" pitchFamily="34" charset="0"/>
              </a:rPr>
              <a:pPr eaLnBrk="1" hangingPunct="1"/>
              <a:t>12</a:t>
            </a:fld>
            <a:endParaRPr lang="en-GB" altLang="en-US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5386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35E2D11-F774-4366-A4AC-27A0866B034A}" type="slidenum">
              <a:rPr lang="en-GB" altLang="fr-FR" smtClean="0"/>
              <a:pPr/>
              <a:t>13</a:t>
            </a:fld>
            <a:endParaRPr lang="en-GB" altLang="fr-FR" smtClean="0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52788" y="514350"/>
            <a:ext cx="3429000" cy="2571750"/>
          </a:xfrm>
          <a:solidFill>
            <a:srgbClr val="FFFFFF"/>
          </a:solidFill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</a:ln>
        </p:spPr>
        <p:txBody>
          <a:bodyPr lIns="92480" tIns="46241" rIns="92480" bIns="46241"/>
          <a:lstStyle/>
          <a:p>
            <a:pPr eaLnBrk="1" hangingPunct="1">
              <a:spcBef>
                <a:spcPct val="0"/>
              </a:spcBef>
            </a:pPr>
            <a:endParaRPr lang="fr-BE" altLang="fr-FR" dirty="0" smtClean="0"/>
          </a:p>
        </p:txBody>
      </p:sp>
    </p:spTree>
    <p:extLst>
      <p:ext uri="{BB962C8B-B14F-4D97-AF65-F5344CB8AC3E}">
        <p14:creationId xmlns:p14="http://schemas.microsoft.com/office/powerpoint/2010/main" val="38143990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35E2D11-F774-4366-A4AC-27A0866B034A}" type="slidenum">
              <a:rPr lang="en-GB" altLang="fr-FR" smtClean="0"/>
              <a:pPr/>
              <a:t>14</a:t>
            </a:fld>
            <a:endParaRPr lang="en-GB" altLang="fr-FR" smtClean="0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52788" y="514350"/>
            <a:ext cx="3429000" cy="2571750"/>
          </a:xfrm>
          <a:solidFill>
            <a:srgbClr val="FFFFFF"/>
          </a:solidFill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</a:ln>
        </p:spPr>
        <p:txBody>
          <a:bodyPr lIns="92480" tIns="46241" rIns="92480" bIns="46241"/>
          <a:lstStyle/>
          <a:p>
            <a:pPr eaLnBrk="1" hangingPunct="1">
              <a:spcBef>
                <a:spcPct val="0"/>
              </a:spcBef>
            </a:pPr>
            <a:endParaRPr lang="fr-BE" altLang="fr-FR" dirty="0" smtClean="0"/>
          </a:p>
        </p:txBody>
      </p:sp>
    </p:spTree>
    <p:extLst>
      <p:ext uri="{BB962C8B-B14F-4D97-AF65-F5344CB8AC3E}">
        <p14:creationId xmlns:p14="http://schemas.microsoft.com/office/powerpoint/2010/main" val="38143990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26A5E70-B200-4DAB-AC8C-BA8EAA04C2B6}" type="slidenum">
              <a:rPr lang="en-GB" smtClean="0">
                <a:latin typeface="Arial" pitchFamily="34" charset="0"/>
              </a:rPr>
              <a:pPr/>
              <a:t>15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30723" name="Rectangle 3"/>
          <p:cNvSpPr txBox="1">
            <a:spLocks noGrp="1" noChangeArrowheads="1"/>
          </p:cNvSpPr>
          <p:nvPr/>
        </p:nvSpPr>
        <p:spPr bwMode="auto">
          <a:xfrm>
            <a:off x="5621695" y="0"/>
            <a:ext cx="4302624" cy="34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764" tIns="45883" rIns="91764" bIns="45883"/>
          <a:lstStyle/>
          <a:p>
            <a:pPr algn="r" eaLnBrk="0" hangingPunct="0"/>
            <a:fld id="{61B816A7-99EF-4D4F-93CC-5D322BCC3037}" type="datetime1">
              <a:rPr lang="en-US">
                <a:solidFill>
                  <a:srgbClr val="3300CC"/>
                </a:solidFill>
              </a:rPr>
              <a:pPr algn="r" eaLnBrk="0" hangingPunct="0"/>
              <a:t>1/5/2016</a:t>
            </a:fld>
            <a:endParaRPr lang="en-US">
              <a:solidFill>
                <a:srgbClr val="3300CC"/>
              </a:solidFill>
            </a:endParaRPr>
          </a:p>
        </p:txBody>
      </p:sp>
      <p:sp>
        <p:nvSpPr>
          <p:cNvPr id="30724" name="Rectangle 6"/>
          <p:cNvSpPr txBox="1">
            <a:spLocks noGrp="1" noChangeArrowheads="1"/>
          </p:cNvSpPr>
          <p:nvPr/>
        </p:nvSpPr>
        <p:spPr bwMode="auto">
          <a:xfrm>
            <a:off x="0" y="6513620"/>
            <a:ext cx="4302624" cy="34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764" tIns="45883" rIns="91764" bIns="45883" anchor="b"/>
          <a:lstStyle/>
          <a:p>
            <a:pPr eaLnBrk="0" hangingPunct="0"/>
            <a:r>
              <a:rPr lang="en-US">
                <a:solidFill>
                  <a:srgbClr val="3300CC"/>
                </a:solidFill>
              </a:rPr>
              <a:t>PCM/ECOFIN Course - Brussels - October 28-31 2008</a:t>
            </a:r>
          </a:p>
        </p:txBody>
      </p:sp>
      <p:sp>
        <p:nvSpPr>
          <p:cNvPr id="30725" name="Rectangle 7"/>
          <p:cNvSpPr txBox="1">
            <a:spLocks noGrp="1" noChangeArrowheads="1"/>
          </p:cNvSpPr>
          <p:nvPr/>
        </p:nvSpPr>
        <p:spPr bwMode="auto">
          <a:xfrm>
            <a:off x="5621695" y="6513620"/>
            <a:ext cx="4302624" cy="34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764" tIns="45883" rIns="91764" bIns="45883" anchor="b"/>
          <a:lstStyle/>
          <a:p>
            <a:pPr algn="r" eaLnBrk="0" hangingPunct="0"/>
            <a:fld id="{9BA9D21D-4330-46D5-A075-59A0269F1FC2}" type="slidenum">
              <a:rPr lang="en-US">
                <a:solidFill>
                  <a:srgbClr val="3300CC"/>
                </a:solidFill>
              </a:rPr>
              <a:pPr algn="r" eaLnBrk="0" hangingPunct="0"/>
              <a:t>15</a:t>
            </a:fld>
            <a:endParaRPr lang="en-US">
              <a:solidFill>
                <a:srgbClr val="3300CC"/>
              </a:solidFill>
            </a:endParaRPr>
          </a:p>
        </p:txBody>
      </p:sp>
      <p:sp>
        <p:nvSpPr>
          <p:cNvPr id="307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52788" y="514350"/>
            <a:ext cx="3427412" cy="2571750"/>
          </a:xfrm>
          <a:ln/>
        </p:spPr>
      </p:sp>
      <p:sp>
        <p:nvSpPr>
          <p:cNvPr id="307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3213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814935-7ECE-468D-893E-19C4D3C5563E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6552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E10E82-FC5B-410F-B9C7-2E55C7614860}" type="slidenum">
              <a:rPr lang="en-GB" smtClean="0">
                <a:latin typeface="Arial" pitchFamily="34" charset="0"/>
              </a:rPr>
              <a:pPr/>
              <a:t>17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49613" y="514350"/>
            <a:ext cx="3427412" cy="2571750"/>
          </a:xfrm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</a:ln>
        </p:spPr>
        <p:txBody>
          <a:bodyPr lIns="93321" tIns="46660" rIns="93321" bIns="46660"/>
          <a:lstStyle/>
          <a:p>
            <a:pPr eaLnBrk="1" hangingPunct="1">
              <a:spcBef>
                <a:spcPct val="0"/>
              </a:spcBef>
            </a:pPr>
            <a:endParaRPr lang="en-US" baseline="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1887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BE" smtClean="0">
              <a:latin typeface="Arial" pitchFamily="34" charset="0"/>
            </a:endParaRPr>
          </a:p>
        </p:txBody>
      </p:sp>
      <p:sp>
        <p:nvSpPr>
          <p:cNvPr id="43012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40D055-2A4E-4A07-9583-0499299B4BBF}" type="slidenum">
              <a:rPr lang="en-GB" smtClean="0">
                <a:latin typeface="Arial" pitchFamily="34" charset="0"/>
              </a:rPr>
              <a:pPr/>
              <a:t>2</a:t>
            </a:fld>
            <a:endParaRPr lang="en-GB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8160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814935-7ECE-468D-893E-19C4D3C5563E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505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BE" dirty="0" smtClean="0">
              <a:latin typeface="Arial" pitchFamily="34" charset="0"/>
            </a:endParaRP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E70DEC3-685C-4F31-9D62-64284663604A}" type="slidenum">
              <a:rPr lang="en-GB" smtClean="0">
                <a:latin typeface="Arial" pitchFamily="34" charset="0"/>
              </a:rPr>
              <a:pPr/>
              <a:t>4</a:t>
            </a:fld>
            <a:endParaRPr lang="en-GB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482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CC29480-00FB-46CB-9F32-9CB19D2F5166}" type="slidenum">
              <a:rPr lang="en-GB" smtClean="0">
                <a:latin typeface="Arial" pitchFamily="34" charset="0"/>
              </a:rPr>
              <a:pPr/>
              <a:t>5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4813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8243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5734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dirty="0" smtClean="0"/>
          </a:p>
        </p:txBody>
      </p:sp>
      <p:sp>
        <p:nvSpPr>
          <p:cNvPr id="57348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defTabSz="451445" eaLnBrk="0"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defTabSz="451445" eaLnBrk="0"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defTabSz="451445" eaLnBrk="0"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defTabSz="451445" eaLnBrk="0"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defTabSz="451445" eaLnBrk="0"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00306" indent="-227301" defTabSz="45144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54907" indent="-227301" defTabSz="45144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09509" indent="-227301" defTabSz="45144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64110" indent="-227301" defTabSz="45144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6099" algn="l"/>
                <a:tab pos="1452198" algn="l"/>
                <a:tab pos="2179876" algn="l"/>
                <a:tab pos="2905975" algn="l"/>
              </a:tabLst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/>
            <a:fld id="{D3EB5E81-4034-4BF4-8164-B48F19A8CF34}" type="slidenum">
              <a:rPr lang="en-GB" altLang="fr-FR" smtClean="0">
                <a:solidFill>
                  <a:srgbClr val="000000"/>
                </a:solidFill>
                <a:latin typeface="Times New Roman" pitchFamily="18" charset="0"/>
              </a:rPr>
              <a:pPr eaLnBrk="1"/>
              <a:t>6</a:t>
            </a:fld>
            <a:endParaRPr lang="en-GB" altLang="fr-F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050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BE" dirty="0" smtClean="0">
              <a:latin typeface="Arial" pitchFamily="34" charset="0"/>
            </a:endParaRPr>
          </a:p>
        </p:txBody>
      </p:sp>
      <p:sp>
        <p:nvSpPr>
          <p:cNvPr id="43012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40D055-2A4E-4A07-9583-0499299B4BBF}" type="slidenum">
              <a:rPr lang="en-GB" smtClean="0">
                <a:latin typeface="Arial" pitchFamily="34" charset="0"/>
              </a:rPr>
              <a:pPr/>
              <a:t>7</a:t>
            </a:fld>
            <a:endParaRPr lang="en-GB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81604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A9D6F5C-C7E8-4149-9968-8A9C6B58C215}" type="slidenum">
              <a:rPr lang="en-GB" smtClean="0">
                <a:latin typeface="Arial" pitchFamily="34" charset="0"/>
              </a:rPr>
              <a:pPr/>
              <a:t>8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55963" y="514350"/>
            <a:ext cx="3429000" cy="2571750"/>
          </a:xfrm>
          <a:solidFill>
            <a:srgbClr val="FFFFFF"/>
          </a:solidFill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23708" y="3257358"/>
            <a:ext cx="7279226" cy="3086264"/>
          </a:xfrm>
          <a:noFill/>
          <a:ln>
            <a:solidFill>
              <a:srgbClr val="000000"/>
            </a:solidFill>
          </a:ln>
        </p:spPr>
        <p:txBody>
          <a:bodyPr lIns="93321" tIns="46660" rIns="93321" bIns="46660"/>
          <a:lstStyle/>
          <a:p>
            <a:pPr eaLnBrk="1" hangingPunct="1">
              <a:spcBef>
                <a:spcPct val="0"/>
              </a:spcBef>
            </a:pPr>
            <a:endParaRPr lang="fr-BE" dirty="0" smtClean="0">
              <a:solidFill>
                <a:srgbClr val="231F20"/>
              </a:solidFill>
              <a:latin typeface="StoneSerif"/>
            </a:endParaRPr>
          </a:p>
        </p:txBody>
      </p:sp>
    </p:spTree>
    <p:extLst>
      <p:ext uri="{BB962C8B-B14F-4D97-AF65-F5344CB8AC3E}">
        <p14:creationId xmlns:p14="http://schemas.microsoft.com/office/powerpoint/2010/main" val="11871859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baseline="0" dirty="0" smtClean="0">
              <a:latin typeface="Arial" pitchFamily="34" charset="0"/>
            </a:endParaRPr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5586" indent="-286764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7056" indent="-229411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5878" indent="-229411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64701" indent="-229411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23523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82346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41168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99990" indent="-22941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/>
            <a:fld id="{0A10DDDC-139D-4E2F-969B-A17B82588DBB}" type="slidenum">
              <a:rPr lang="en-GB" altLang="en-US" smtClean="0">
                <a:solidFill>
                  <a:schemeClr val="tx1"/>
                </a:solidFill>
                <a:latin typeface="Arial" pitchFamily="34" charset="0"/>
              </a:rPr>
              <a:pPr eaLnBrk="1" hangingPunct="1"/>
              <a:t>9</a:t>
            </a:fld>
            <a:endParaRPr lang="en-GB" altLang="en-US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260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r>
              <a:rPr lang="fr-BE"/>
              <a:t>Title</a:t>
            </a:r>
            <a:endParaRPr lang="en-GB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r>
              <a:rPr lang="fr-BE"/>
              <a:t>Subtitle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8534D532-4BFC-4591-9413-664D9478095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7D24C4-3035-4B8C-BA47-DA37365B25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608E0-B54D-4F8B-B3DE-304C0C19FFF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F4F774-9ED8-4DA3-8773-3C983AFF79F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524EF1-0F4C-4DAC-97D8-DE83CE8C692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3EAD7-FAC7-4C0B-958F-5D38A108E0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6F47C2-90EA-40F5-BC20-6FF40683C46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D5ADBD-7475-47EA-8E19-E4869D77FF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608C9-FF2E-486D-9567-7BEDD8269F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1BAF99-5F2D-4D79-8EC8-214BD3C6290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en-GB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683288-2C6D-41F0-A325-EEF9040E078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smtClean="0"/>
              <a:t>Second level</a:t>
            </a:r>
            <a:endParaRPr lang="en-GB" smtClean="0"/>
          </a:p>
          <a:p>
            <a:pPr lvl="1"/>
            <a:r>
              <a:rPr lang="en-GB" smtClean="0"/>
              <a:t>Third level</a:t>
            </a:r>
          </a:p>
          <a:p>
            <a:pPr lvl="2"/>
            <a:r>
              <a:rPr lang="en-GB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1637C2C-D4F0-4761-9F0D-4EF325C757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33" name="Picture 17" descr="LOGO CE_Vertical_EN_NEG_quadri_HR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Espace réservé du numéro de diapositive 6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0488F40-7F86-417C-9CFA-A68571A3338D}" type="slidenum">
              <a:rPr lang="en-GB" smtClean="0">
                <a:solidFill>
                  <a:schemeClr val="tx1"/>
                </a:solidFill>
                <a:latin typeface="Arial" pitchFamily="34" charset="0"/>
              </a:rPr>
              <a:pPr/>
              <a:t>1</a:t>
            </a:fld>
            <a:endParaRPr lang="en-GB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7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4724400"/>
            <a:ext cx="836295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ts val="2800"/>
              </a:lnSpc>
              <a:buFont typeface="Times" pitchFamily="18" charset="0"/>
              <a:buNone/>
            </a:pPr>
            <a:r>
              <a:rPr lang="fr-FR" sz="3000" dirty="0" smtClean="0">
                <a:solidFill>
                  <a:schemeClr val="bg1"/>
                </a:solidFill>
              </a:rPr>
              <a:t>Brussels</a:t>
            </a:r>
            <a:r>
              <a:rPr lang="en-GB" sz="3000" dirty="0" smtClean="0">
                <a:solidFill>
                  <a:schemeClr val="bg1"/>
                </a:solidFill>
              </a:rPr>
              <a:t>,</a:t>
            </a:r>
            <a:r>
              <a:rPr lang="fr-FR" sz="3000" smtClean="0">
                <a:solidFill>
                  <a:schemeClr val="bg1"/>
                </a:solidFill>
              </a:rPr>
              <a:t> </a:t>
            </a:r>
            <a:r>
              <a:rPr lang="fr-FR" sz="3000" smtClean="0">
                <a:solidFill>
                  <a:schemeClr val="bg1"/>
                </a:solidFill>
              </a:rPr>
              <a:t>12-15 </a:t>
            </a:r>
            <a:r>
              <a:rPr lang="fr-FR" sz="3000" dirty="0" err="1" smtClean="0">
                <a:solidFill>
                  <a:schemeClr val="bg1"/>
                </a:solidFill>
              </a:rPr>
              <a:t>January</a:t>
            </a:r>
            <a:r>
              <a:rPr lang="fr-FR" sz="3000" dirty="0" smtClean="0">
                <a:solidFill>
                  <a:schemeClr val="bg1"/>
                </a:solidFill>
              </a:rPr>
              <a:t> 2016</a:t>
            </a:r>
            <a:endParaRPr lang="en-GB" sz="3000" dirty="0">
              <a:solidFill>
                <a:schemeClr val="bg1"/>
              </a:solidFill>
            </a:endParaRPr>
          </a:p>
        </p:txBody>
      </p:sp>
      <p:sp>
        <p:nvSpPr>
          <p:cNvPr id="3076" name="Rectangle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" y="5491163"/>
            <a:ext cx="8470900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ts val="2800"/>
              </a:lnSpc>
              <a:buFont typeface="Times" pitchFamily="18" charset="0"/>
              <a:buNone/>
            </a:pPr>
            <a:endParaRPr lang="fr-FR" sz="3000">
              <a:solidFill>
                <a:schemeClr val="bg1"/>
              </a:solidFill>
            </a:endParaRPr>
          </a:p>
        </p:txBody>
      </p:sp>
      <p:sp>
        <p:nvSpPr>
          <p:cNvPr id="3077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5750" y="1790700"/>
            <a:ext cx="8534400" cy="22860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eaLnBrk="0" hangingPunct="0">
              <a:defRPr/>
            </a:pPr>
            <a:r>
              <a:rPr lang="fr-FR" sz="4000" b="1" dirty="0">
                <a:solidFill>
                  <a:srgbClr val="F3D23F"/>
                </a:solidFill>
                <a:latin typeface="+mj-lt"/>
                <a:cs typeface="+mn-cs"/>
              </a:rPr>
              <a:t>Logical Framework </a:t>
            </a:r>
            <a:r>
              <a:rPr lang="en-US" sz="4000" b="1" dirty="0">
                <a:solidFill>
                  <a:srgbClr val="F3D23F"/>
                </a:solidFill>
                <a:latin typeface="+mj-lt"/>
                <a:cs typeface="+mn-cs"/>
              </a:rPr>
              <a:t>Approach</a:t>
            </a:r>
            <a:r>
              <a:rPr lang="fr-FR" sz="4000" b="1" dirty="0">
                <a:solidFill>
                  <a:srgbClr val="F3D23F"/>
                </a:solidFill>
                <a:latin typeface="+mj-lt"/>
                <a:cs typeface="+mn-cs"/>
              </a:rPr>
              <a:t> </a:t>
            </a:r>
            <a:r>
              <a:rPr lang="fr-FR" sz="4000" b="1" dirty="0" smtClean="0">
                <a:solidFill>
                  <a:srgbClr val="F3D23F"/>
                </a:solidFill>
                <a:latin typeface="+mj-lt"/>
                <a:cs typeface="+mn-cs"/>
              </a:rPr>
              <a:t>&amp; </a:t>
            </a:r>
            <a:r>
              <a:rPr lang="fr-FR" sz="4000" b="1" dirty="0" err="1" smtClean="0">
                <a:solidFill>
                  <a:srgbClr val="F3D23F"/>
                </a:solidFill>
                <a:latin typeface="+mj-lt"/>
                <a:cs typeface="+mn-cs"/>
              </a:rPr>
              <a:t>indicators</a:t>
            </a:r>
            <a:r>
              <a:rPr lang="fr-FR" sz="4000" b="1" dirty="0" smtClean="0">
                <a:solidFill>
                  <a:srgbClr val="F3D23F"/>
                </a:solidFill>
                <a:latin typeface="+mj-lt"/>
                <a:cs typeface="+mn-cs"/>
              </a:rPr>
              <a:t> </a:t>
            </a:r>
          </a:p>
          <a:p>
            <a:pPr algn="ctr" eaLnBrk="0" hangingPunct="0">
              <a:defRPr/>
            </a:pPr>
            <a:r>
              <a:rPr lang="fr-FR" sz="2500" b="1" dirty="0" smtClean="0">
                <a:solidFill>
                  <a:srgbClr val="F3D23F"/>
                </a:solidFill>
                <a:latin typeface="+mj-lt"/>
                <a:cs typeface="+mn-cs"/>
              </a:rPr>
              <a:t>for the </a:t>
            </a:r>
            <a:r>
              <a:rPr lang="fr-FR" sz="2500" b="1" dirty="0" err="1" smtClean="0">
                <a:solidFill>
                  <a:srgbClr val="F3D23F"/>
                </a:solidFill>
                <a:latin typeface="+mj-lt"/>
                <a:cs typeface="+mn-cs"/>
              </a:rPr>
              <a:t>result</a:t>
            </a:r>
            <a:r>
              <a:rPr lang="fr-FR" sz="2500" b="1" dirty="0" smtClean="0">
                <a:solidFill>
                  <a:srgbClr val="F3D23F"/>
                </a:solidFill>
                <a:latin typeface="+mj-lt"/>
                <a:cs typeface="+mn-cs"/>
              </a:rPr>
              <a:t> </a:t>
            </a:r>
            <a:r>
              <a:rPr lang="fr-FR" sz="2500" b="1" dirty="0" err="1" smtClean="0">
                <a:solidFill>
                  <a:srgbClr val="F3D23F"/>
                </a:solidFill>
                <a:latin typeface="+mj-lt"/>
                <a:cs typeface="+mn-cs"/>
              </a:rPr>
              <a:t>oriented</a:t>
            </a:r>
            <a:r>
              <a:rPr lang="fr-FR" sz="2500" b="1" dirty="0" smtClean="0">
                <a:solidFill>
                  <a:srgbClr val="F3D23F"/>
                </a:solidFill>
                <a:latin typeface="+mj-lt"/>
                <a:cs typeface="+mn-cs"/>
              </a:rPr>
              <a:t> management of </a:t>
            </a:r>
            <a:r>
              <a:rPr lang="fr-FR" sz="2500" b="1" dirty="0" err="1" smtClean="0">
                <a:solidFill>
                  <a:srgbClr val="F3D23F"/>
                </a:solidFill>
                <a:latin typeface="+mj-lt"/>
                <a:cs typeface="+mn-cs"/>
              </a:rPr>
              <a:t>projects</a:t>
            </a:r>
            <a:r>
              <a:rPr lang="fr-FR" sz="2500" b="1" dirty="0" smtClean="0">
                <a:solidFill>
                  <a:srgbClr val="F3D23F"/>
                </a:solidFill>
                <a:latin typeface="+mj-lt"/>
                <a:cs typeface="+mn-cs"/>
              </a:rPr>
              <a:t> &amp; programmes</a:t>
            </a:r>
            <a:endParaRPr lang="fr-FR" sz="2500" b="1" dirty="0">
              <a:solidFill>
                <a:srgbClr val="F3D23F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354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150ACF5-1C89-45C5-884A-C780F2E09D01}" type="slidenum">
              <a:rPr lang="en-GB" smtClean="0">
                <a:latin typeface="Arial" pitchFamily="34" charset="0"/>
              </a:rPr>
              <a:pPr/>
              <a:t>10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85750" y="1124744"/>
            <a:ext cx="8462963" cy="593725"/>
          </a:xfrm>
        </p:spPr>
        <p:txBody>
          <a:bodyPr/>
          <a:lstStyle/>
          <a:p>
            <a:pPr indent="0" algn="ctr" eaLnBrk="1" hangingPunct="1"/>
            <a:r>
              <a:rPr lang="en-GB" dirty="0" smtClean="0"/>
              <a:t>Steps in the cyc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0" y="1624410"/>
            <a:ext cx="9144000" cy="4972942"/>
          </a:xfrm>
        </p:spPr>
        <p:txBody>
          <a:bodyPr/>
          <a:lstStyle/>
          <a:p>
            <a:pPr marL="57150" defTabSz="719138" eaLnBrk="1" hangingPunct="1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2000" b="1" i="0" dirty="0" smtClean="0">
                <a:ea typeface="Arial Unicode MS" pitchFamily="34" charset="-128"/>
                <a:cs typeface="Arial Unicode MS" pitchFamily="34" charset="-128"/>
              </a:rPr>
              <a:t>Programming </a:t>
            </a:r>
            <a:r>
              <a:rPr lang="en-GB" sz="2000" b="0" i="0" dirty="0" smtClean="0">
                <a:ea typeface="Arial Unicode MS" pitchFamily="34" charset="-128"/>
                <a:cs typeface="Arial Unicode MS" pitchFamily="34" charset="-128"/>
              </a:rPr>
              <a:t>– Analysing the situation and existing </a:t>
            </a:r>
            <a:r>
              <a:rPr lang="en-GB" sz="2000" b="0" i="0" kern="1200" dirty="0"/>
              <a:t>policies/strategies </a:t>
            </a:r>
            <a:r>
              <a:rPr lang="en-GB" sz="2000" b="0" i="0" kern="1200" dirty="0" smtClean="0"/>
              <a:t>in order to </a:t>
            </a:r>
            <a:r>
              <a:rPr lang="en-GB" sz="2000" b="0" i="0" kern="1200" dirty="0"/>
              <a:t>identify </a:t>
            </a:r>
            <a:r>
              <a:rPr lang="en-GB" sz="2000" b="0" i="0" kern="1200" dirty="0" smtClean="0"/>
              <a:t>the main issues </a:t>
            </a:r>
            <a:r>
              <a:rPr lang="en-GB" sz="2000" b="0" i="0" kern="1200" dirty="0"/>
              <a:t>that international cooperation could address</a:t>
            </a:r>
          </a:p>
          <a:p>
            <a:pPr marL="57150" defTabSz="719138" eaLnBrk="1" hangingPunct="1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2000" b="1" i="0" dirty="0">
                <a:ea typeface="Arial Unicode MS" pitchFamily="34" charset="-128"/>
                <a:cs typeface="Arial Unicode MS" pitchFamily="34" charset="-128"/>
              </a:rPr>
              <a:t>Identification </a:t>
            </a:r>
            <a:r>
              <a:rPr lang="en-GB" sz="2000" b="0" i="0" dirty="0" smtClean="0">
                <a:ea typeface="Arial Unicode MS" pitchFamily="34" charset="-128"/>
                <a:cs typeface="Arial Unicode MS" pitchFamily="34" charset="-128"/>
              </a:rPr>
              <a:t>– </a:t>
            </a:r>
            <a:r>
              <a:rPr lang="en-US" sz="2000" b="0" i="0" dirty="0" smtClean="0">
                <a:ea typeface="Arial Unicode MS" pitchFamily="34" charset="-128"/>
                <a:cs typeface="Arial Unicode MS" pitchFamily="34" charset="-128"/>
              </a:rPr>
              <a:t>Defining </a:t>
            </a:r>
            <a:r>
              <a:rPr lang="en-US" sz="2000" b="0" i="0" dirty="0">
                <a:ea typeface="Arial Unicode MS" pitchFamily="34" charset="-128"/>
                <a:cs typeface="Arial Unicode MS" pitchFamily="34" charset="-128"/>
              </a:rPr>
              <a:t>the basis for the design of an </a:t>
            </a:r>
            <a:r>
              <a:rPr lang="en-US" sz="2000" b="0" i="0" dirty="0" smtClean="0">
                <a:ea typeface="Arial Unicode MS" pitchFamily="34" charset="-128"/>
                <a:cs typeface="Arial Unicode MS" pitchFamily="34" charset="-128"/>
              </a:rPr>
              <a:t>action based on programming priorities and a </a:t>
            </a:r>
            <a:r>
              <a:rPr lang="en-US" sz="2000" b="1" dirty="0">
                <a:ea typeface="Arial Unicode MS" pitchFamily="34" charset="-128"/>
                <a:cs typeface="Arial Unicode MS" pitchFamily="34" charset="-128"/>
              </a:rPr>
              <a:t>thorough understanding of the context </a:t>
            </a:r>
            <a:r>
              <a:rPr lang="en-US" sz="2000" b="0" i="0" dirty="0" smtClean="0">
                <a:ea typeface="Arial Unicode MS" pitchFamily="34" charset="-128"/>
                <a:cs typeface="Arial Unicode MS" pitchFamily="34" charset="-128"/>
              </a:rPr>
              <a:t>in order to </a:t>
            </a:r>
            <a:r>
              <a:rPr lang="en-US" sz="2000" b="0" i="0" dirty="0">
                <a:ea typeface="Arial Unicode MS" pitchFamily="34" charset="-128"/>
                <a:cs typeface="Arial Unicode MS" pitchFamily="34" charset="-128"/>
              </a:rPr>
              <a:t>focus on the </a:t>
            </a:r>
            <a:r>
              <a:rPr lang="en-US" sz="2000" b="1" dirty="0">
                <a:ea typeface="Arial Unicode MS" pitchFamily="34" charset="-128"/>
                <a:cs typeface="Arial Unicode MS" pitchFamily="34" charset="-128"/>
              </a:rPr>
              <a:t>priority areas </a:t>
            </a:r>
            <a:r>
              <a:rPr lang="en-US" sz="2000" b="0" i="0" dirty="0">
                <a:ea typeface="Arial Unicode MS" pitchFamily="34" charset="-128"/>
                <a:cs typeface="Arial Unicode MS" pitchFamily="34" charset="-128"/>
              </a:rPr>
              <a:t>and/or problems to be addressed. </a:t>
            </a:r>
            <a:endParaRPr lang="en-GB" sz="2000" b="0" i="0" dirty="0">
              <a:ea typeface="Arial Unicode MS" pitchFamily="34" charset="-128"/>
              <a:cs typeface="Arial Unicode MS" pitchFamily="34" charset="-128"/>
            </a:endParaRPr>
          </a:p>
          <a:p>
            <a:pPr marL="57150" defTabSz="719138" eaLnBrk="1" hangingPunct="1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2000" b="1" i="0" kern="1200" dirty="0"/>
              <a:t>Formulation </a:t>
            </a:r>
            <a:r>
              <a:rPr lang="en-GB" sz="2000" b="0" i="0" kern="1200" dirty="0"/>
              <a:t>– </a:t>
            </a:r>
            <a:r>
              <a:rPr lang="en-US" sz="2000" b="0" i="0" kern="1200" dirty="0" smtClean="0"/>
              <a:t>Designing </a:t>
            </a:r>
            <a:r>
              <a:rPr lang="en-US" sz="2000" b="0" i="0" kern="1200" dirty="0"/>
              <a:t>the </a:t>
            </a:r>
            <a:r>
              <a:rPr lang="en-US" sz="2000" b="0" i="0" kern="1200" dirty="0" smtClean="0"/>
              <a:t>action, </a:t>
            </a:r>
            <a:r>
              <a:rPr lang="en-US" sz="2000" b="0" i="0" kern="1200" dirty="0"/>
              <a:t>based on the analysis carried out during identification. This </a:t>
            </a:r>
            <a:r>
              <a:rPr lang="en-US" sz="2000" b="0" i="0" kern="1200" dirty="0" smtClean="0"/>
              <a:t>leads </a:t>
            </a:r>
            <a:r>
              <a:rPr lang="en-US" sz="2000" b="0" i="0" kern="1200" dirty="0"/>
              <a:t>to the elaboration of a full Action Document </a:t>
            </a:r>
            <a:r>
              <a:rPr lang="en-US" sz="2000" b="0" i="0" kern="1200" dirty="0" smtClean="0"/>
              <a:t>to be </a:t>
            </a:r>
            <a:r>
              <a:rPr lang="en-US" sz="2000" b="0" i="0" kern="1200" dirty="0"/>
              <a:t>quality </a:t>
            </a:r>
            <a:r>
              <a:rPr lang="en-US" sz="2000" b="0" i="0" kern="1200" dirty="0" smtClean="0"/>
              <a:t>assessed, </a:t>
            </a:r>
            <a:r>
              <a:rPr lang="fr-FR" sz="2000" b="0" i="0" kern="1200" dirty="0"/>
              <a:t>and </a:t>
            </a:r>
            <a:r>
              <a:rPr lang="fr-FR" sz="2000" b="0" i="0" kern="1200" dirty="0" smtClean="0"/>
              <a:t>(</a:t>
            </a:r>
            <a:r>
              <a:rPr lang="fr-FR" sz="2000" b="0" i="0" kern="1200" dirty="0" err="1" smtClean="0"/>
              <a:t>often</a:t>
            </a:r>
            <a:r>
              <a:rPr lang="fr-FR" sz="2000" i="0" kern="1200" dirty="0" smtClean="0"/>
              <a:t>) </a:t>
            </a:r>
            <a:r>
              <a:rPr lang="fr-FR" sz="2000" b="0" i="0" kern="1200" dirty="0" smtClean="0"/>
              <a:t>to </a:t>
            </a:r>
            <a:r>
              <a:rPr lang="fr-FR" sz="2000" b="0" i="0" kern="1200" dirty="0"/>
              <a:t>a </a:t>
            </a:r>
            <a:r>
              <a:rPr lang="fr-FR" sz="2000" i="0" kern="1200" dirty="0" err="1"/>
              <a:t>f</a:t>
            </a:r>
            <a:r>
              <a:rPr lang="fr-FR" sz="2000" b="0" i="0" kern="1200" dirty="0" err="1" smtClean="0"/>
              <a:t>inancing</a:t>
            </a:r>
            <a:r>
              <a:rPr lang="fr-FR" sz="2000" b="0" i="0" kern="1200" dirty="0" smtClean="0"/>
              <a:t> </a:t>
            </a:r>
            <a:r>
              <a:rPr lang="fr-FR" sz="2000" b="0" i="0" kern="1200" dirty="0" err="1" smtClean="0"/>
              <a:t>decision</a:t>
            </a:r>
            <a:r>
              <a:rPr lang="fr-FR" sz="2000" b="0" i="0" kern="1200" dirty="0" smtClean="0"/>
              <a:t>.</a:t>
            </a:r>
            <a:endParaRPr lang="en-GB" sz="2000" b="0" i="0" kern="1200" dirty="0"/>
          </a:p>
          <a:p>
            <a:pPr marL="57150" defTabSz="719138" eaLnBrk="1" hangingPunct="1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2000" b="1" i="0" kern="1200" dirty="0" err="1" smtClean="0"/>
              <a:t>Implementation</a:t>
            </a:r>
            <a:r>
              <a:rPr lang="en-GB" sz="2000" b="1" i="0" kern="1200" dirty="0" smtClean="0"/>
              <a:t> </a:t>
            </a:r>
            <a:r>
              <a:rPr lang="en-GB" sz="2000" b="0" i="0" kern="1200" dirty="0" smtClean="0"/>
              <a:t>– Mobilising the resources (budget, HR etc.) and executing the action, including monitoring of progress</a:t>
            </a:r>
          </a:p>
          <a:p>
            <a:pPr marL="57150" defTabSz="719138" eaLnBrk="1" hangingPunct="1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2000" b="1" i="0" kern="1200" dirty="0" smtClean="0"/>
              <a:t>Closure &amp; follow up </a:t>
            </a:r>
            <a:r>
              <a:rPr lang="en-GB" sz="2000" b="0" i="0" kern="1200" dirty="0" smtClean="0"/>
              <a:t>– </a:t>
            </a:r>
            <a:r>
              <a:rPr lang="en-GB" sz="2000" i="0" kern="1200" dirty="0"/>
              <a:t>Assessing project results and drawing lessons for the future</a:t>
            </a:r>
          </a:p>
        </p:txBody>
      </p:sp>
    </p:spTree>
    <p:extLst>
      <p:ext uri="{BB962C8B-B14F-4D97-AF65-F5344CB8AC3E}">
        <p14:creationId xmlns:p14="http://schemas.microsoft.com/office/powerpoint/2010/main" val="2755280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2539" y="2636912"/>
            <a:ext cx="2736304" cy="3096344"/>
          </a:xfrm>
          <a:prstGeom prst="rect">
            <a:avLst/>
          </a:prstGeom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79210" y="1556792"/>
            <a:ext cx="8462963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indent="0" algn="ctr" eaLnBrk="1" hangingPunct="1"/>
            <a:r>
              <a:rPr lang="en-GB" kern="0" dirty="0" smtClean="0"/>
              <a:t>The project cycle is not linear and not static 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265394" y="5908269"/>
            <a:ext cx="8462963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indent="0" algn="ctr" eaLnBrk="1" hangingPunct="1"/>
            <a:r>
              <a:rPr lang="en-GB" kern="0" dirty="0" smtClean="0"/>
              <a:t>All steps are closely interlinked</a:t>
            </a:r>
          </a:p>
        </p:txBody>
      </p:sp>
    </p:spTree>
    <p:extLst>
      <p:ext uri="{BB962C8B-B14F-4D97-AF65-F5344CB8AC3E}">
        <p14:creationId xmlns:p14="http://schemas.microsoft.com/office/powerpoint/2010/main" val="680832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7" name="Text Box 56"/>
          <p:cNvSpPr txBox="1"/>
          <p:nvPr/>
        </p:nvSpPr>
        <p:spPr bwMode="auto">
          <a:xfrm>
            <a:off x="268539" y="1747144"/>
            <a:ext cx="3727397" cy="256274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r>
              <a:rPr lang="da-DK" sz="2400" b="1" cap="all" dirty="0">
                <a:ln w="4496" cap="flat" cmpd="sng" algn="ctr">
                  <a:solidFill>
                    <a:srgbClr val="0F5494"/>
                  </a:solidFill>
                  <a:prstDash val="solid"/>
                  <a:round/>
                </a:ln>
                <a:effectLst/>
                <a:latin typeface="Arial"/>
                <a:ea typeface="Cambria"/>
                <a:cs typeface="Times New Roman"/>
              </a:rPr>
              <a:t>Budget Support</a:t>
            </a:r>
          </a:p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endParaRPr lang="da-DK" sz="2400" b="1" cap="all" dirty="0">
              <a:ln w="4496" cap="flat" cmpd="sng" algn="ctr">
                <a:solidFill>
                  <a:srgbClr val="0F5494"/>
                </a:solidFill>
                <a:prstDash val="solid"/>
                <a:round/>
              </a:ln>
              <a:effectLst/>
              <a:latin typeface="Arial"/>
              <a:ea typeface="Cambria"/>
              <a:cs typeface="Times New Roman"/>
            </a:endParaRPr>
          </a:p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endParaRPr lang="da-DK" sz="2400" b="1" cap="all" dirty="0">
              <a:ln w="4496" cap="flat" cmpd="sng" algn="ctr">
                <a:solidFill>
                  <a:srgbClr val="0F5494"/>
                </a:solidFill>
                <a:prstDash val="solid"/>
                <a:round/>
              </a:ln>
              <a:effectLst/>
              <a:latin typeface="Arial"/>
              <a:ea typeface="Cambria"/>
              <a:cs typeface="Times New Roman"/>
            </a:endParaRPr>
          </a:p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r>
              <a:rPr lang="da-DK" sz="2400" b="1" cap="all" dirty="0">
                <a:ln w="4496" cap="flat" cmpd="sng" algn="ctr">
                  <a:solidFill>
                    <a:srgbClr val="0F5494"/>
                  </a:solidFill>
                  <a:prstDash val="solid"/>
                  <a:round/>
                </a:ln>
                <a:effectLst/>
                <a:latin typeface="Arial"/>
                <a:ea typeface="Cambria"/>
                <a:cs typeface="Times New Roman"/>
              </a:rPr>
              <a:t>   (BS)</a:t>
            </a:r>
            <a:endParaRPr lang="en-GB" sz="2400" dirty="0">
              <a:ln w="4496" cap="flat" cmpd="sng" algn="ctr">
                <a:solidFill>
                  <a:srgbClr val="0F5494"/>
                </a:solidFill>
                <a:prstDash val="solid"/>
                <a:round/>
              </a:ln>
              <a:effectLst/>
              <a:latin typeface="Times New Roman"/>
              <a:ea typeface="Times New Roman"/>
            </a:endParaRPr>
          </a:p>
        </p:txBody>
      </p:sp>
      <p:sp>
        <p:nvSpPr>
          <p:cNvPr id="8" name="Text Box 57"/>
          <p:cNvSpPr txBox="1"/>
          <p:nvPr/>
        </p:nvSpPr>
        <p:spPr bwMode="auto">
          <a:xfrm>
            <a:off x="251875" y="4411027"/>
            <a:ext cx="3744061" cy="202875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>
            <a:scene3d>
              <a:camera prst="orthographicFront"/>
              <a:lightRig rig="threePt" dir="t"/>
            </a:scene3d>
            <a:sp3d prstMaterial="flat"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r>
              <a:rPr lang="da-DK" sz="2400" b="1" dirty="0">
                <a:ln>
                  <a:solidFill>
                    <a:srgbClr val="0F5494"/>
                  </a:solidFill>
                </a:ln>
                <a:effectLst/>
                <a:latin typeface="Arial"/>
                <a:ea typeface="Cambria"/>
                <a:cs typeface="Times New Roman"/>
              </a:rPr>
              <a:t>PROJECT MODALITY   </a:t>
            </a:r>
          </a:p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endParaRPr lang="da-DK" sz="2400" b="1" dirty="0">
              <a:ln>
                <a:solidFill>
                  <a:srgbClr val="0F5494"/>
                </a:solidFill>
              </a:ln>
              <a:effectLst/>
              <a:latin typeface="Arial"/>
              <a:ea typeface="Cambria"/>
              <a:cs typeface="Times New Roman"/>
            </a:endParaRPr>
          </a:p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endParaRPr lang="da-DK" sz="2400" b="1" dirty="0">
              <a:ln>
                <a:solidFill>
                  <a:srgbClr val="0F5494"/>
                </a:solidFill>
              </a:ln>
              <a:effectLst/>
              <a:latin typeface="Arial"/>
              <a:ea typeface="Cambria"/>
              <a:cs typeface="Times New Roman"/>
            </a:endParaRPr>
          </a:p>
          <a:p>
            <a:pPr algn="ctr">
              <a:lnSpc>
                <a:spcPts val="1400"/>
              </a:lnSpc>
              <a:spcAft>
                <a:spcPts val="0"/>
              </a:spcAft>
              <a:defRPr/>
            </a:pPr>
            <a:r>
              <a:rPr lang="da-DK" sz="2400" b="1" dirty="0">
                <a:ln>
                  <a:solidFill>
                    <a:srgbClr val="0F5494"/>
                  </a:solidFill>
                </a:ln>
                <a:effectLst/>
                <a:latin typeface="Arial"/>
                <a:ea typeface="Cambria"/>
                <a:cs typeface="Times New Roman"/>
              </a:rPr>
              <a:t>(PM)</a:t>
            </a:r>
            <a:endParaRPr lang="en-GB" sz="2400" dirty="0">
              <a:ln>
                <a:solidFill>
                  <a:srgbClr val="0F5494"/>
                </a:solidFill>
              </a:ln>
              <a:effectLst/>
              <a:latin typeface="Times New Roman"/>
              <a:ea typeface="Times New Roman"/>
            </a:endParaRPr>
          </a:p>
        </p:txBody>
      </p:sp>
      <p:sp>
        <p:nvSpPr>
          <p:cNvPr id="5131" name="Rectangle 21"/>
          <p:cNvSpPr>
            <a:spLocks noChangeArrowheads="1"/>
          </p:cNvSpPr>
          <p:nvPr/>
        </p:nvSpPr>
        <p:spPr bwMode="auto">
          <a:xfrm>
            <a:off x="0" y="457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endParaRPr lang="en-US" altLang="en-US" sz="1100" b="1">
              <a:latin typeface="Cambria" pitchFamily="18" charset="0"/>
              <a:ea typeface="Times New Roman" pitchFamily="18" charset="0"/>
              <a:cs typeface="Arial+FPEF"/>
            </a:endParaRPr>
          </a:p>
          <a:p>
            <a:r>
              <a:rPr lang="en-US" altLang="en-US" sz="1100" b="1">
                <a:latin typeface="Cambria" pitchFamily="18" charset="0"/>
                <a:ea typeface="Times New Roman" pitchFamily="18" charset="0"/>
                <a:cs typeface="Arial+FPEF"/>
              </a:rPr>
              <a:t>Box 7: aid modalities and their categories </a:t>
            </a:r>
            <a:endParaRPr lang="en-US" altLang="en-US">
              <a:ea typeface="Times New Roman" pitchFamily="18" charset="0"/>
              <a:cs typeface="Arial+FPEF"/>
            </a:endParaRPr>
          </a:p>
        </p:txBody>
      </p:sp>
      <p:sp>
        <p:nvSpPr>
          <p:cNvPr id="5132" name="TextBox 14"/>
          <p:cNvSpPr txBox="1">
            <a:spLocks noChangeArrowheads="1"/>
          </p:cNvSpPr>
          <p:nvPr/>
        </p:nvSpPr>
        <p:spPr bwMode="auto">
          <a:xfrm>
            <a:off x="84370" y="980099"/>
            <a:ext cx="871207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fr-BE" altLang="en-US" sz="3000" b="1" dirty="0" err="1" smtClean="0">
                <a:latin typeface="+mj-lt"/>
                <a:ea typeface="+mj-ea"/>
                <a:cs typeface="+mj-cs"/>
              </a:rPr>
              <a:t>Two</a:t>
            </a:r>
            <a:r>
              <a:rPr lang="fr-BE" altLang="en-US" sz="3000" b="1" dirty="0" smtClean="0">
                <a:latin typeface="+mj-lt"/>
                <a:ea typeface="+mj-ea"/>
                <a:cs typeface="+mj-cs"/>
              </a:rPr>
              <a:t> </a:t>
            </a:r>
            <a:r>
              <a:rPr lang="fr-BE" altLang="en-US" sz="3000" b="1" dirty="0" err="1" smtClean="0">
                <a:latin typeface="+mj-lt"/>
                <a:ea typeface="+mj-ea"/>
                <a:cs typeface="+mj-cs"/>
              </a:rPr>
              <a:t>aid</a:t>
            </a:r>
            <a:r>
              <a:rPr lang="fr-BE" altLang="en-US" sz="3000" b="1" dirty="0" smtClean="0">
                <a:latin typeface="+mj-lt"/>
                <a:ea typeface="+mj-ea"/>
                <a:cs typeface="+mj-cs"/>
              </a:rPr>
              <a:t> </a:t>
            </a:r>
            <a:r>
              <a:rPr lang="fr-BE" altLang="en-US" sz="3000" b="1" dirty="0" err="1" smtClean="0">
                <a:latin typeface="+mj-lt"/>
                <a:ea typeface="+mj-ea"/>
                <a:cs typeface="+mj-cs"/>
              </a:rPr>
              <a:t>modalities</a:t>
            </a:r>
            <a:endParaRPr lang="fr-BE" altLang="en-US" sz="3000" b="1" dirty="0">
              <a:latin typeface="+mj-lt"/>
              <a:ea typeface="+mj-ea"/>
              <a:cs typeface="+mj-cs"/>
            </a:endParaRP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auto">
          <a:xfrm rot="20326054">
            <a:off x="2413074" y="3349736"/>
            <a:ext cx="2331868" cy="594062"/>
          </a:xfrm>
          <a:prstGeom prst="foldedCorner">
            <a:avLst>
              <a:gd name="adj" fmla="val 12500"/>
            </a:avLst>
          </a:prstGeom>
          <a:solidFill>
            <a:srgbClr val="FFFF66"/>
          </a:solidFill>
          <a:ln w="9525">
            <a:solidFill>
              <a:srgbClr val="FFCC00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altLang="fr-FR" sz="1400" dirty="0" err="1" smtClean="0">
                <a:solidFill>
                  <a:schemeClr val="accent2"/>
                </a:solidFill>
              </a:rPr>
              <a:t>See</a:t>
            </a:r>
            <a:r>
              <a:rPr lang="fr-FR" altLang="fr-FR" sz="1400" dirty="0" smtClean="0">
                <a:solidFill>
                  <a:schemeClr val="accent2"/>
                </a:solidFill>
              </a:rPr>
              <a:t> </a:t>
            </a:r>
            <a:r>
              <a:rPr lang="fr-FR" altLang="fr-FR" sz="1400" dirty="0" err="1" smtClean="0">
                <a:solidFill>
                  <a:schemeClr val="accent2"/>
                </a:solidFill>
              </a:rPr>
              <a:t>also</a:t>
            </a:r>
            <a:r>
              <a:rPr lang="fr-FR" altLang="fr-FR" sz="1400" dirty="0" smtClean="0">
                <a:solidFill>
                  <a:schemeClr val="accent2"/>
                </a:solidFill>
              </a:rPr>
              <a:t>: training on budget support</a:t>
            </a:r>
            <a:endParaRPr lang="en-GB" altLang="fr-FR" sz="1400" dirty="0">
              <a:solidFill>
                <a:schemeClr val="accent2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76644" y="1771947"/>
            <a:ext cx="418784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BE" dirty="0" smtClean="0"/>
          </a:p>
          <a:p>
            <a:r>
              <a:rPr lang="fr-BE" dirty="0" smtClean="0"/>
              <a:t>The </a:t>
            </a:r>
            <a:r>
              <a:rPr lang="fr-BE" dirty="0" err="1" smtClean="0"/>
              <a:t>aid</a:t>
            </a:r>
            <a:r>
              <a:rPr lang="fr-BE" dirty="0" smtClean="0"/>
              <a:t> </a:t>
            </a:r>
            <a:r>
              <a:rPr lang="fr-BE" dirty="0" err="1" smtClean="0"/>
              <a:t>modality</a:t>
            </a:r>
            <a:r>
              <a:rPr lang="fr-BE" dirty="0" smtClean="0"/>
              <a:t> </a:t>
            </a:r>
            <a:r>
              <a:rPr lang="fr-BE" dirty="0" err="1" smtClean="0"/>
              <a:t>is</a:t>
            </a:r>
            <a:r>
              <a:rPr lang="fr-BE" dirty="0" smtClean="0"/>
              <a:t> </a:t>
            </a:r>
            <a:r>
              <a:rPr lang="fr-BE" dirty="0" err="1" smtClean="0"/>
              <a:t>selected</a:t>
            </a:r>
            <a:r>
              <a:rPr lang="fr-BE" dirty="0" smtClean="0"/>
              <a:t> during </a:t>
            </a:r>
            <a:r>
              <a:rPr lang="fr-BE" dirty="0" err="1" smtClean="0"/>
              <a:t>programming</a:t>
            </a:r>
            <a:r>
              <a:rPr lang="fr-BE" dirty="0" smtClean="0"/>
              <a:t> and/or identification and </a:t>
            </a:r>
            <a:r>
              <a:rPr lang="fr-BE" dirty="0" err="1" smtClean="0"/>
              <a:t>decided</a:t>
            </a:r>
            <a:r>
              <a:rPr lang="fr-BE" dirty="0" smtClean="0"/>
              <a:t> </a:t>
            </a:r>
            <a:r>
              <a:rPr lang="fr-BE" dirty="0" err="1" smtClean="0"/>
              <a:t>upon</a:t>
            </a:r>
            <a:r>
              <a:rPr lang="fr-BE" dirty="0" smtClean="0"/>
              <a:t> during formulation.</a:t>
            </a:r>
          </a:p>
          <a:p>
            <a:endParaRPr lang="fr-BE" dirty="0" smtClean="0"/>
          </a:p>
          <a:p>
            <a:r>
              <a:rPr lang="fr-BE" dirty="0" err="1" smtClean="0"/>
              <a:t>Both</a:t>
            </a:r>
            <a:r>
              <a:rPr lang="fr-BE" dirty="0" smtClean="0"/>
              <a:t> types have </a:t>
            </a:r>
            <a:r>
              <a:rPr lang="fr-BE" b="1" u="sng" dirty="0" err="1" smtClean="0"/>
              <a:t>common</a:t>
            </a:r>
            <a:r>
              <a:rPr lang="fr-BE" b="1" u="sng" dirty="0" smtClean="0"/>
              <a:t> </a:t>
            </a:r>
            <a:r>
              <a:rPr lang="fr-BE" b="1" u="sng" dirty="0" err="1" smtClean="0"/>
              <a:t>features</a:t>
            </a:r>
            <a:r>
              <a:rPr lang="fr-BE" u="sng" dirty="0" smtClean="0"/>
              <a:t>:</a:t>
            </a:r>
            <a:endParaRPr lang="fr-BE" dirty="0" smtClean="0"/>
          </a:p>
          <a:p>
            <a:pPr marL="171450" indent="-171450">
              <a:buFontTx/>
              <a:buChar char="-"/>
            </a:pPr>
            <a:r>
              <a:rPr lang="fr-BE" dirty="0" err="1" smtClean="0"/>
              <a:t>Context</a:t>
            </a:r>
            <a:r>
              <a:rPr lang="fr-BE" dirty="0" smtClean="0"/>
              <a:t> </a:t>
            </a:r>
            <a:r>
              <a:rPr lang="fr-BE" dirty="0" err="1" smtClean="0"/>
              <a:t>analysis</a:t>
            </a:r>
            <a:endParaRPr lang="fr-BE" dirty="0" smtClean="0"/>
          </a:p>
          <a:p>
            <a:pPr marL="171450" indent="-171450">
              <a:buFontTx/>
              <a:buChar char="-"/>
            </a:pPr>
            <a:r>
              <a:rPr lang="fr-BE" dirty="0" err="1" smtClean="0"/>
              <a:t>Risk</a:t>
            </a:r>
            <a:r>
              <a:rPr lang="fr-BE" dirty="0" smtClean="0"/>
              <a:t> </a:t>
            </a:r>
            <a:r>
              <a:rPr lang="fr-BE" dirty="0" err="1" smtClean="0"/>
              <a:t>analysis</a:t>
            </a:r>
            <a:r>
              <a:rPr lang="fr-BE" dirty="0" smtClean="0"/>
              <a:t> (</a:t>
            </a:r>
            <a:r>
              <a:rPr lang="fr-BE" dirty="0" err="1" smtClean="0"/>
              <a:t>partially</a:t>
            </a:r>
            <a:r>
              <a:rPr lang="fr-BE" dirty="0" smtClean="0"/>
              <a:t>)</a:t>
            </a:r>
          </a:p>
          <a:p>
            <a:pPr marL="171450" indent="-171450">
              <a:buFontTx/>
              <a:buChar char="-"/>
            </a:pPr>
            <a:r>
              <a:rPr lang="fr-BE" dirty="0" err="1" smtClean="0"/>
              <a:t>Lessons</a:t>
            </a:r>
            <a:r>
              <a:rPr lang="fr-BE" dirty="0" smtClean="0"/>
              <a:t> </a:t>
            </a:r>
            <a:r>
              <a:rPr lang="fr-BE" dirty="0" err="1" smtClean="0"/>
              <a:t>learned</a:t>
            </a:r>
            <a:endParaRPr lang="fr-BE" dirty="0" smtClean="0"/>
          </a:p>
          <a:p>
            <a:pPr marL="171450" indent="-171450">
              <a:buFontTx/>
              <a:buChar char="-"/>
            </a:pPr>
            <a:r>
              <a:rPr lang="fr-BE" dirty="0" smtClean="0"/>
              <a:t>Policy dialogue</a:t>
            </a:r>
          </a:p>
          <a:p>
            <a:pPr marL="171450" indent="-171450">
              <a:buFontTx/>
              <a:buChar char="-"/>
            </a:pPr>
            <a:r>
              <a:rPr lang="fr-BE" dirty="0" smtClean="0"/>
              <a:t>(support to) </a:t>
            </a:r>
            <a:r>
              <a:rPr lang="fr-BE" dirty="0" err="1" smtClean="0"/>
              <a:t>Capacity</a:t>
            </a:r>
            <a:r>
              <a:rPr lang="fr-BE" dirty="0" smtClean="0"/>
              <a:t> </a:t>
            </a:r>
            <a:r>
              <a:rPr lang="fr-BE" dirty="0" err="1" smtClean="0"/>
              <a:t>Development</a:t>
            </a:r>
            <a:endParaRPr lang="fr-BE" dirty="0" smtClean="0"/>
          </a:p>
          <a:p>
            <a:pPr marL="171450" indent="-171450">
              <a:buFontTx/>
              <a:buChar char="-"/>
            </a:pPr>
            <a:r>
              <a:rPr lang="fr-BE" dirty="0" err="1" smtClean="0"/>
              <a:t>Results</a:t>
            </a:r>
            <a:endParaRPr lang="fr-BE" dirty="0" smtClean="0"/>
          </a:p>
          <a:p>
            <a:endParaRPr lang="fr-BE" dirty="0"/>
          </a:p>
          <a:p>
            <a:r>
              <a:rPr lang="fr-BE" dirty="0" smtClean="0"/>
              <a:t>-&gt; </a:t>
            </a:r>
            <a:r>
              <a:rPr lang="fr-BE" dirty="0" err="1" smtClean="0"/>
              <a:t>only</a:t>
            </a:r>
            <a:r>
              <a:rPr lang="fr-BE" dirty="0" smtClean="0"/>
              <a:t> </a:t>
            </a:r>
            <a:r>
              <a:rPr lang="fr-BE" b="1" dirty="0" smtClean="0"/>
              <a:t>one Action Document </a:t>
            </a:r>
            <a:r>
              <a:rPr lang="fr-BE" b="1" dirty="0" err="1" smtClean="0"/>
              <a:t>template</a:t>
            </a:r>
            <a:r>
              <a:rPr lang="fr-BE" b="1" dirty="0" smtClean="0"/>
              <a:t> </a:t>
            </a:r>
            <a:r>
              <a:rPr lang="fr-BE" dirty="0" smtClean="0"/>
              <a:t>for </a:t>
            </a:r>
            <a:r>
              <a:rPr lang="fr-BE" dirty="0" err="1" smtClean="0"/>
              <a:t>both</a:t>
            </a:r>
            <a:r>
              <a:rPr lang="fr-BE" dirty="0" smtClean="0"/>
              <a:t> </a:t>
            </a:r>
            <a:r>
              <a:rPr lang="fr-BE" dirty="0" err="1" smtClean="0"/>
              <a:t>aid</a:t>
            </a:r>
            <a:r>
              <a:rPr lang="fr-BE" dirty="0" smtClean="0"/>
              <a:t> </a:t>
            </a:r>
            <a:r>
              <a:rPr lang="fr-BE" dirty="0" err="1" smtClean="0"/>
              <a:t>modalities</a:t>
            </a:r>
            <a:r>
              <a:rPr lang="fr-BE" dirty="0" smtClean="0"/>
              <a:t> </a:t>
            </a:r>
          </a:p>
          <a:p>
            <a:endParaRPr lang="fr-BE" dirty="0"/>
          </a:p>
          <a:p>
            <a:endParaRPr lang="fr-BE" dirty="0"/>
          </a:p>
          <a:p>
            <a:r>
              <a:rPr lang="fr-BE" dirty="0" smtClean="0"/>
              <a:t>Note: </a:t>
            </a:r>
            <a:r>
              <a:rPr lang="fr-BE" dirty="0" err="1" smtClean="0"/>
              <a:t>some</a:t>
            </a:r>
            <a:r>
              <a:rPr lang="fr-BE" dirty="0" smtClean="0"/>
              <a:t> </a:t>
            </a:r>
            <a:r>
              <a:rPr lang="fr-BE" dirty="0" err="1" smtClean="0"/>
              <a:t>categories</a:t>
            </a:r>
            <a:r>
              <a:rPr lang="fr-BE" dirty="0" smtClean="0"/>
              <a:t>:</a:t>
            </a:r>
          </a:p>
          <a:p>
            <a:r>
              <a:rPr lang="fr-BE" dirty="0" smtClean="0"/>
              <a:t>For BS: 	Good </a:t>
            </a:r>
            <a:r>
              <a:rPr lang="fr-BE" dirty="0" err="1" smtClean="0"/>
              <a:t>Governance</a:t>
            </a:r>
            <a:r>
              <a:rPr lang="fr-BE" dirty="0" smtClean="0"/>
              <a:t> and </a:t>
            </a:r>
            <a:r>
              <a:rPr lang="fr-BE" dirty="0" err="1"/>
              <a:t>D</a:t>
            </a:r>
            <a:r>
              <a:rPr lang="fr-BE" dirty="0" err="1" smtClean="0"/>
              <a:t>vp</a:t>
            </a:r>
            <a:r>
              <a:rPr lang="fr-BE" dirty="0" smtClean="0"/>
              <a:t> </a:t>
            </a:r>
            <a:r>
              <a:rPr lang="fr-BE" dirty="0" err="1" smtClean="0"/>
              <a:t>Contracts</a:t>
            </a:r>
            <a:r>
              <a:rPr lang="fr-BE" dirty="0" smtClean="0"/>
              <a:t> </a:t>
            </a:r>
          </a:p>
          <a:p>
            <a:r>
              <a:rPr lang="fr-BE" dirty="0"/>
              <a:t>	</a:t>
            </a:r>
            <a:r>
              <a:rPr lang="fr-BE" dirty="0" smtClean="0"/>
              <a:t>State Building </a:t>
            </a:r>
            <a:r>
              <a:rPr lang="fr-BE" dirty="0" err="1" smtClean="0"/>
              <a:t>Contracts</a:t>
            </a:r>
            <a:endParaRPr lang="fr-BE" dirty="0" smtClean="0"/>
          </a:p>
          <a:p>
            <a:r>
              <a:rPr lang="fr-BE" dirty="0"/>
              <a:t>	</a:t>
            </a:r>
            <a:r>
              <a:rPr lang="fr-BE" b="1" dirty="0" err="1" smtClean="0"/>
              <a:t>Sector</a:t>
            </a:r>
            <a:r>
              <a:rPr lang="fr-BE" dirty="0" smtClean="0"/>
              <a:t> </a:t>
            </a:r>
            <a:r>
              <a:rPr lang="fr-BE" dirty="0" err="1" smtClean="0"/>
              <a:t>Reform</a:t>
            </a:r>
            <a:r>
              <a:rPr lang="fr-BE" dirty="0" smtClean="0"/>
              <a:t> </a:t>
            </a:r>
            <a:r>
              <a:rPr lang="fr-BE" dirty="0" err="1" smtClean="0"/>
              <a:t>Contract</a:t>
            </a:r>
            <a:endParaRPr lang="fr-BE" dirty="0" smtClean="0"/>
          </a:p>
          <a:p>
            <a:r>
              <a:rPr lang="fr-BE" dirty="0" smtClean="0"/>
              <a:t>For PM: 	to </a:t>
            </a:r>
            <a:r>
              <a:rPr lang="fr-BE" dirty="0" err="1" smtClean="0"/>
              <a:t>be</a:t>
            </a:r>
            <a:r>
              <a:rPr lang="fr-BE" dirty="0" smtClean="0"/>
              <a:t> </a:t>
            </a:r>
            <a:r>
              <a:rPr lang="fr-BE" dirty="0" err="1" smtClean="0"/>
              <a:t>defined</a:t>
            </a:r>
            <a:r>
              <a:rPr lang="fr-BE" dirty="0" smtClean="0"/>
              <a:t> in new guidelines, 	</a:t>
            </a:r>
            <a:r>
              <a:rPr lang="fr-BE" dirty="0" err="1" smtClean="0"/>
              <a:t>tentatively</a:t>
            </a:r>
            <a:r>
              <a:rPr lang="fr-BE" dirty="0" smtClean="0"/>
              <a:t>: </a:t>
            </a:r>
          </a:p>
          <a:p>
            <a:r>
              <a:rPr lang="fr-BE" dirty="0" smtClean="0"/>
              <a:t>	</a:t>
            </a:r>
            <a:r>
              <a:rPr lang="fr-BE" b="1" dirty="0" err="1" smtClean="0"/>
              <a:t>Sector</a:t>
            </a:r>
            <a:r>
              <a:rPr lang="fr-BE" dirty="0" smtClean="0"/>
              <a:t> Support Programmes</a:t>
            </a:r>
          </a:p>
          <a:p>
            <a:r>
              <a:rPr lang="fr-BE" dirty="0"/>
              <a:t>	</a:t>
            </a:r>
            <a:r>
              <a:rPr lang="fr-BE" dirty="0" err="1" smtClean="0"/>
              <a:t>Projects</a:t>
            </a:r>
            <a:endParaRPr lang="fr-BE" dirty="0" smtClean="0"/>
          </a:p>
        </p:txBody>
      </p:sp>
    </p:spTree>
    <p:extLst>
      <p:ext uri="{BB962C8B-B14F-4D97-AF65-F5344CB8AC3E}">
        <p14:creationId xmlns:p14="http://schemas.microsoft.com/office/powerpoint/2010/main" val="4032062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FC6D5BE4-8727-4235-8697-F8CCD454D64B}" type="slidenum">
              <a:rPr lang="en-GB" altLang="fr-FR" smtClean="0"/>
              <a:pPr/>
              <a:t>13</a:t>
            </a:fld>
            <a:endParaRPr lang="en-GB" altLang="fr-FR" smtClean="0"/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31141" y="1196752"/>
            <a:ext cx="8756804" cy="917848"/>
          </a:xfrm>
        </p:spPr>
        <p:txBody>
          <a:bodyPr/>
          <a:lstStyle/>
          <a:p>
            <a:pPr indent="0" algn="ctr" eaLnBrk="1" hangingPunct="1"/>
            <a:r>
              <a:rPr lang="fr-BE" altLang="fr-FR" dirty="0" smtClean="0"/>
              <a:t>The LFA to </a:t>
            </a:r>
            <a:r>
              <a:rPr lang="fr-BE" altLang="fr-FR" dirty="0" err="1" smtClean="0"/>
              <a:t>preparing</a:t>
            </a:r>
            <a:r>
              <a:rPr lang="fr-BE" altLang="fr-FR" dirty="0" smtClean="0"/>
              <a:t> </a:t>
            </a:r>
            <a:r>
              <a:rPr lang="fr-BE" altLang="fr-FR" dirty="0" err="1" smtClean="0"/>
              <a:t>projects</a:t>
            </a:r>
            <a:r>
              <a:rPr lang="fr-BE" altLang="fr-FR" dirty="0" smtClean="0"/>
              <a:t> and programm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3529" y="2436068"/>
            <a:ext cx="369332" cy="315456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wrap="square" rtlCol="0">
            <a:spAutoFit/>
          </a:bodyPr>
          <a:lstStyle/>
          <a:p>
            <a:pPr algn="ctr"/>
            <a:r>
              <a:rPr lang="fr-BE" b="1" dirty="0" err="1" smtClean="0"/>
              <a:t>Partner's</a:t>
            </a:r>
            <a:r>
              <a:rPr lang="fr-BE" b="1" dirty="0" smtClean="0"/>
              <a:t> </a:t>
            </a:r>
            <a:r>
              <a:rPr lang="fr-BE" b="1" dirty="0" err="1" smtClean="0"/>
              <a:t>Strategy</a:t>
            </a:r>
            <a:r>
              <a:rPr lang="fr-BE" b="1" dirty="0" smtClean="0"/>
              <a:t>/programmes </a:t>
            </a:r>
            <a:endParaRPr lang="en-GB" b="1" dirty="0"/>
          </a:p>
        </p:txBody>
      </p:sp>
      <p:sp>
        <p:nvSpPr>
          <p:cNvPr id="8" name="TextBox 7"/>
          <p:cNvSpPr txBox="1"/>
          <p:nvPr/>
        </p:nvSpPr>
        <p:spPr>
          <a:xfrm>
            <a:off x="841916" y="3857814"/>
            <a:ext cx="1872208" cy="64633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b="1" dirty="0" err="1" smtClean="0"/>
              <a:t>Priority</a:t>
            </a:r>
            <a:r>
              <a:rPr lang="fr-BE" b="1" dirty="0" smtClean="0"/>
              <a:t> areas for support/</a:t>
            </a:r>
            <a:r>
              <a:rPr lang="fr-BE" b="1" dirty="0" err="1" smtClean="0"/>
              <a:t>problem</a:t>
            </a:r>
            <a:r>
              <a:rPr lang="fr-BE" dirty="0" smtClean="0"/>
              <a:t> </a:t>
            </a:r>
            <a:r>
              <a:rPr lang="fr-BE" dirty="0" err="1" smtClean="0"/>
              <a:t>analysis</a:t>
            </a:r>
            <a:endParaRPr lang="fr-BE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827585" y="2467054"/>
            <a:ext cx="1879011" cy="12003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b="1" dirty="0" err="1" smtClean="0"/>
              <a:t>Analysis</a:t>
            </a:r>
            <a:r>
              <a:rPr lang="fr-BE" b="1" dirty="0" smtClean="0"/>
              <a:t> of the </a:t>
            </a:r>
            <a:r>
              <a:rPr lang="fr-BE" b="1" dirty="0" err="1" smtClean="0"/>
              <a:t>context</a:t>
            </a:r>
            <a:endParaRPr lang="fr-BE" b="1" dirty="0" smtClean="0"/>
          </a:p>
          <a:p>
            <a:pPr marL="171450" indent="-171450">
              <a:buFontTx/>
              <a:buChar char="-"/>
            </a:pPr>
            <a:r>
              <a:rPr lang="fr-BE" dirty="0" smtClean="0"/>
              <a:t>Public </a:t>
            </a:r>
            <a:r>
              <a:rPr lang="fr-BE" dirty="0" err="1" smtClean="0"/>
              <a:t>policy</a:t>
            </a:r>
            <a:r>
              <a:rPr lang="fr-BE" dirty="0" smtClean="0"/>
              <a:t> </a:t>
            </a:r>
          </a:p>
          <a:p>
            <a:pPr marL="171450" indent="-171450">
              <a:buFontTx/>
              <a:buChar char="-"/>
            </a:pPr>
            <a:r>
              <a:rPr lang="fr-BE" dirty="0" err="1" smtClean="0"/>
              <a:t>Stakeholders</a:t>
            </a:r>
            <a:r>
              <a:rPr lang="fr-BE" dirty="0" smtClean="0"/>
              <a:t> </a:t>
            </a:r>
          </a:p>
          <a:p>
            <a:pPr marL="171450" indent="-171450">
              <a:buFontTx/>
              <a:buChar char="-"/>
            </a:pPr>
            <a:r>
              <a:rPr lang="fr-BE" dirty="0" smtClean="0"/>
              <a:t>(</a:t>
            </a:r>
            <a:r>
              <a:rPr lang="fr-BE" dirty="0" err="1" smtClean="0"/>
              <a:t>elements</a:t>
            </a:r>
            <a:r>
              <a:rPr lang="fr-BE" dirty="0" smtClean="0"/>
              <a:t> of </a:t>
            </a:r>
            <a:r>
              <a:rPr lang="fr-BE" dirty="0" err="1" smtClean="0"/>
              <a:t>Political</a:t>
            </a:r>
            <a:r>
              <a:rPr lang="fr-BE" dirty="0" smtClean="0"/>
              <a:t> </a:t>
            </a:r>
            <a:r>
              <a:rPr lang="fr-BE" dirty="0" err="1" smtClean="0"/>
              <a:t>Economy</a:t>
            </a:r>
            <a:r>
              <a:rPr lang="fr-BE" dirty="0" smtClean="0"/>
              <a:t>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173393" y="2439471"/>
            <a:ext cx="2185655" cy="27699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b="1" dirty="0" err="1" smtClean="0"/>
              <a:t>Lessons</a:t>
            </a:r>
            <a:r>
              <a:rPr lang="fr-BE" b="1" dirty="0" smtClean="0"/>
              <a:t> </a:t>
            </a:r>
            <a:r>
              <a:rPr lang="fr-BE" b="1" dirty="0" err="1" smtClean="0"/>
              <a:t>learned</a:t>
            </a:r>
            <a:endParaRPr lang="fr-BE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193272" y="2790220"/>
            <a:ext cx="2165776" cy="27699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b="1" dirty="0" err="1" smtClean="0"/>
              <a:t>Risks</a:t>
            </a:r>
            <a:r>
              <a:rPr lang="fr-BE" b="1" dirty="0" smtClean="0"/>
              <a:t> and </a:t>
            </a:r>
            <a:r>
              <a:rPr lang="fr-BE" b="1" dirty="0" err="1" smtClean="0"/>
              <a:t>assumptions</a:t>
            </a:r>
            <a:endParaRPr lang="fr-BE" b="1" dirty="0" smtClean="0"/>
          </a:p>
        </p:txBody>
      </p:sp>
      <p:sp>
        <p:nvSpPr>
          <p:cNvPr id="6" name="Bent Arrow 5"/>
          <p:cNvSpPr/>
          <p:nvPr/>
        </p:nvSpPr>
        <p:spPr bwMode="auto">
          <a:xfrm>
            <a:off x="692861" y="5590634"/>
            <a:ext cx="8195084" cy="1119825"/>
          </a:xfrm>
          <a:prstGeom prst="bentArrow">
            <a:avLst>
              <a:gd name="adj1" fmla="val 45980"/>
              <a:gd name="adj2" fmla="val 49760"/>
              <a:gd name="adj3" fmla="val 14500"/>
              <a:gd name="adj4" fmla="val 13386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BE" sz="1800" b="1" dirty="0" smtClean="0">
                <a:solidFill>
                  <a:srgbClr val="FFFF00"/>
                </a:solidFill>
              </a:rPr>
              <a:t>LOGICAL FRAMEWORK APPROACH</a:t>
            </a: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FFFF00"/>
              </a:solidFill>
              <a:effectLst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08103" y="2379315"/>
            <a:ext cx="3456384" cy="200054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sz="1600" b="1" dirty="0" smtClean="0"/>
              <a:t>INTERVENTION LOGIC (IL)</a:t>
            </a:r>
          </a:p>
          <a:p>
            <a:r>
              <a:rPr lang="fr-BE" b="1" dirty="0" err="1" smtClean="0"/>
              <a:t>What</a:t>
            </a:r>
            <a:r>
              <a:rPr lang="fr-BE" b="1" dirty="0" smtClean="0"/>
              <a:t> </a:t>
            </a:r>
            <a:r>
              <a:rPr lang="en-GB" b="1" dirty="0" smtClean="0"/>
              <a:t>outcomes are sought</a:t>
            </a:r>
            <a:r>
              <a:rPr lang="en-GB" b="1" dirty="0"/>
              <a:t>, for </a:t>
            </a:r>
            <a:r>
              <a:rPr lang="en-GB" b="1" dirty="0" smtClean="0"/>
              <a:t>whom and </a:t>
            </a:r>
            <a:r>
              <a:rPr lang="en-GB" b="1" dirty="0"/>
              <a:t>why, what has been done before in this field to build on, how change might happen, over what period of time, based on what </a:t>
            </a:r>
            <a:r>
              <a:rPr lang="en-GB" b="1" dirty="0" smtClean="0"/>
              <a:t>assumptions?  </a:t>
            </a:r>
            <a:r>
              <a:rPr lang="en-GB" b="1" dirty="0"/>
              <a:t>How will we measure progress and evaluate </a:t>
            </a:r>
            <a:r>
              <a:rPr lang="en-GB" b="1" dirty="0" smtClean="0"/>
              <a:t>achievements? </a:t>
            </a:r>
            <a:r>
              <a:rPr lang="en-GB" b="1" dirty="0"/>
              <a:t>What learning indicators do we need, what are the </a:t>
            </a:r>
            <a:r>
              <a:rPr lang="en-GB" b="1" dirty="0" smtClean="0"/>
              <a:t>risks?</a:t>
            </a:r>
            <a:endParaRPr lang="fr-BE" b="1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5508103" y="4504145"/>
            <a:ext cx="3456385" cy="107721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sz="1400" b="1" dirty="0" smtClean="0"/>
              <a:t>LOGICAL FRAMEWORK MATRIX (LFM)</a:t>
            </a:r>
          </a:p>
          <a:p>
            <a:r>
              <a:rPr lang="fr-BE" b="1" dirty="0" smtClean="0"/>
              <a:t>A </a:t>
            </a:r>
            <a:r>
              <a:rPr lang="fr-BE" b="1" dirty="0" err="1" smtClean="0"/>
              <a:t>tool</a:t>
            </a:r>
            <a:r>
              <a:rPr lang="fr-BE" b="1" dirty="0"/>
              <a:t> </a:t>
            </a:r>
            <a:r>
              <a:rPr lang="fr-BE" b="1" dirty="0" err="1" smtClean="0"/>
              <a:t>that</a:t>
            </a:r>
            <a:r>
              <a:rPr lang="fr-BE" b="1" dirty="0" smtClean="0"/>
              <a:t> </a:t>
            </a:r>
            <a:r>
              <a:rPr lang="fr-BE" b="1" dirty="0" err="1" smtClean="0"/>
              <a:t>can</a:t>
            </a:r>
            <a:r>
              <a:rPr lang="fr-BE" b="1" dirty="0" smtClean="0"/>
              <a:t> </a:t>
            </a:r>
            <a:r>
              <a:rPr lang="fr-BE" b="1" dirty="0" err="1" smtClean="0"/>
              <a:t>be</a:t>
            </a:r>
            <a:r>
              <a:rPr lang="fr-BE" b="1" dirty="0" smtClean="0"/>
              <a:t> </a:t>
            </a:r>
            <a:r>
              <a:rPr lang="fr-BE" b="1" dirty="0" err="1" smtClean="0"/>
              <a:t>used</a:t>
            </a:r>
            <a:r>
              <a:rPr lang="fr-BE" b="1" dirty="0" smtClean="0"/>
              <a:t> for planning an action, and for monitoring and </a:t>
            </a:r>
            <a:r>
              <a:rPr lang="fr-BE" b="1" dirty="0" err="1" smtClean="0"/>
              <a:t>results</a:t>
            </a:r>
            <a:r>
              <a:rPr lang="fr-BE" b="1" dirty="0" smtClean="0"/>
              <a:t> </a:t>
            </a:r>
            <a:r>
              <a:rPr lang="fr-BE" b="1" dirty="0" err="1" smtClean="0"/>
              <a:t>reporting</a:t>
            </a:r>
            <a:endParaRPr lang="fr-BE" b="1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827585" y="4878154"/>
            <a:ext cx="1872208" cy="64633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b="1" dirty="0" err="1" smtClean="0"/>
              <a:t>Gender</a:t>
            </a:r>
            <a:r>
              <a:rPr lang="fr-BE" b="1" dirty="0"/>
              <a:t> </a:t>
            </a:r>
            <a:endParaRPr lang="fr-BE" b="1" dirty="0" smtClean="0"/>
          </a:p>
          <a:p>
            <a:r>
              <a:rPr lang="fr-BE" b="1" dirty="0" err="1" smtClean="0"/>
              <a:t>Environment+CC</a:t>
            </a:r>
            <a:r>
              <a:rPr lang="fr-BE" b="1" dirty="0" smtClean="0"/>
              <a:t> </a:t>
            </a:r>
          </a:p>
          <a:p>
            <a:r>
              <a:rPr lang="fr-BE" b="1" dirty="0" smtClean="0"/>
              <a:t>RBA</a:t>
            </a:r>
            <a:endParaRPr lang="fr-BE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183332" y="3219377"/>
            <a:ext cx="2165776" cy="83099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b="1" dirty="0" err="1" smtClean="0"/>
              <a:t>Complementarity</a:t>
            </a:r>
            <a:r>
              <a:rPr lang="fr-BE" b="1" dirty="0" smtClean="0"/>
              <a:t>, value </a:t>
            </a:r>
            <a:r>
              <a:rPr lang="fr-BE" b="1" dirty="0" err="1" smtClean="0"/>
              <a:t>added</a:t>
            </a:r>
            <a:r>
              <a:rPr lang="fr-BE" b="1" dirty="0" smtClean="0"/>
              <a:t>, </a:t>
            </a:r>
            <a:r>
              <a:rPr lang="fr-BE" b="1" dirty="0" err="1" smtClean="0"/>
              <a:t>synergy</a:t>
            </a:r>
            <a:r>
              <a:rPr lang="fr-BE" b="1" dirty="0" smtClean="0"/>
              <a:t> and </a:t>
            </a:r>
            <a:r>
              <a:rPr lang="fr-BE" b="1" dirty="0" err="1" smtClean="0"/>
              <a:t>donor</a:t>
            </a:r>
            <a:r>
              <a:rPr lang="fr-BE" b="1" dirty="0" smtClean="0"/>
              <a:t> coordination</a:t>
            </a:r>
          </a:p>
        </p:txBody>
      </p:sp>
    </p:spTree>
    <p:extLst>
      <p:ext uri="{BB962C8B-B14F-4D97-AF65-F5344CB8AC3E}">
        <p14:creationId xmlns:p14="http://schemas.microsoft.com/office/powerpoint/2010/main" val="24174063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FC6D5BE4-8727-4235-8697-F8CCD454D64B}" type="slidenum">
              <a:rPr lang="en-GB" altLang="fr-FR" smtClean="0"/>
              <a:pPr/>
              <a:t>14</a:t>
            </a:fld>
            <a:endParaRPr lang="en-GB" altLang="fr-FR" smtClean="0"/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9512" y="980728"/>
            <a:ext cx="8756804" cy="917848"/>
          </a:xfrm>
        </p:spPr>
        <p:txBody>
          <a:bodyPr/>
          <a:lstStyle/>
          <a:p>
            <a:pPr indent="0" eaLnBrk="1" hangingPunct="1"/>
            <a:r>
              <a:rPr lang="fr-BE" altLang="fr-FR" dirty="0" smtClean="0"/>
              <a:t>The </a:t>
            </a:r>
            <a:r>
              <a:rPr lang="fr-BE" altLang="fr-FR" dirty="0" err="1" smtClean="0"/>
              <a:t>Logical</a:t>
            </a:r>
            <a:r>
              <a:rPr lang="fr-BE" altLang="fr-FR" dirty="0" smtClean="0"/>
              <a:t> Framework </a:t>
            </a:r>
            <a:r>
              <a:rPr lang="fr-BE" altLang="fr-FR" dirty="0" err="1" smtClean="0"/>
              <a:t>Approach</a:t>
            </a:r>
            <a:endParaRPr lang="fr-BE" altLang="fr-FR" dirty="0" smtClean="0"/>
          </a:p>
        </p:txBody>
      </p:sp>
      <p:sp>
        <p:nvSpPr>
          <p:cNvPr id="2" name="ZoneTexte 1"/>
          <p:cNvSpPr txBox="1"/>
          <p:nvPr/>
        </p:nvSpPr>
        <p:spPr>
          <a:xfrm>
            <a:off x="496746" y="1902023"/>
            <a:ext cx="79928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 u="sng" dirty="0" smtClean="0"/>
              <a:t>Challenge</a:t>
            </a:r>
            <a:r>
              <a:rPr lang="en-GB" b="1" i="1" dirty="0" smtClean="0"/>
              <a:t>:</a:t>
            </a:r>
          </a:p>
          <a:p>
            <a:r>
              <a:rPr lang="en-GB" b="1" i="1" dirty="0" smtClean="0"/>
              <a:t>Is to convert ideas and questions into a realistic, manageable action! </a:t>
            </a:r>
            <a:endParaRPr lang="en-US" b="1" dirty="0"/>
          </a:p>
        </p:txBody>
      </p:sp>
      <p:sp>
        <p:nvSpPr>
          <p:cNvPr id="6" name="Bent Arrow 5"/>
          <p:cNvSpPr/>
          <p:nvPr/>
        </p:nvSpPr>
        <p:spPr bwMode="auto">
          <a:xfrm>
            <a:off x="683568" y="2924944"/>
            <a:ext cx="2155200" cy="2440394"/>
          </a:xfrm>
          <a:prstGeom prst="bentArrow">
            <a:avLst>
              <a:gd name="adj1" fmla="val 63253"/>
              <a:gd name="adj2" fmla="val 49760"/>
              <a:gd name="adj3" fmla="val 14500"/>
              <a:gd name="adj4" fmla="val 13386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BE" sz="1800" b="1" dirty="0" smtClean="0">
                <a:solidFill>
                  <a:srgbClr val="FFFF00"/>
                </a:solidFill>
              </a:rPr>
              <a:t>LOGICAL FRAMEWORK APPROACH</a:t>
            </a: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FFFF00"/>
              </a:solidFill>
              <a:effectLst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59832" y="2594521"/>
            <a:ext cx="576064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000" b="1" dirty="0" smtClean="0"/>
              <a:t>Not a simple, </a:t>
            </a:r>
            <a:r>
              <a:rPr lang="fr-BE" sz="2000" b="1" dirty="0" err="1" smtClean="0"/>
              <a:t>linear</a:t>
            </a:r>
            <a:r>
              <a:rPr lang="fr-BE" sz="2000" b="1" dirty="0" smtClean="0"/>
              <a:t>, </a:t>
            </a:r>
            <a:r>
              <a:rPr lang="fr-BE" sz="2000" b="1" dirty="0" err="1" smtClean="0"/>
              <a:t>solitary</a:t>
            </a:r>
            <a:r>
              <a:rPr lang="fr-BE" sz="2000" b="1" dirty="0" smtClean="0"/>
              <a:t> </a:t>
            </a:r>
            <a:r>
              <a:rPr lang="fr-BE" sz="2000" b="1" dirty="0" err="1" smtClean="0"/>
              <a:t>task</a:t>
            </a:r>
            <a:endParaRPr lang="fr-BE" sz="2000" b="1" dirty="0" smtClean="0"/>
          </a:p>
          <a:p>
            <a:endParaRPr lang="fr-BE" sz="2000" b="1" dirty="0"/>
          </a:p>
          <a:p>
            <a:r>
              <a:rPr lang="fr-BE" sz="1800" dirty="0" smtClean="0"/>
              <a:t>Key concepts </a:t>
            </a:r>
            <a:r>
              <a:rPr lang="fr-BE" sz="1800" dirty="0" err="1" smtClean="0"/>
              <a:t>that</a:t>
            </a:r>
            <a:r>
              <a:rPr lang="fr-BE" sz="1800" dirty="0" smtClean="0"/>
              <a:t> </a:t>
            </a:r>
            <a:r>
              <a:rPr lang="fr-BE" sz="1800" dirty="0" err="1" smtClean="0"/>
              <a:t>we</a:t>
            </a:r>
            <a:r>
              <a:rPr lang="fr-BE" sz="1800" dirty="0" smtClean="0"/>
              <a:t> </a:t>
            </a:r>
            <a:r>
              <a:rPr lang="fr-BE" sz="1800" dirty="0" err="1" smtClean="0"/>
              <a:t>will</a:t>
            </a:r>
            <a:r>
              <a:rPr lang="fr-BE" sz="1800" dirty="0" smtClean="0"/>
              <a:t> </a:t>
            </a:r>
            <a:r>
              <a:rPr lang="fr-BE" sz="1800" dirty="0" err="1" smtClean="0"/>
              <a:t>develop</a:t>
            </a:r>
            <a:r>
              <a:rPr lang="fr-BE" sz="1800" dirty="0" smtClean="0"/>
              <a:t> </a:t>
            </a:r>
            <a:r>
              <a:rPr lang="fr-BE" sz="1800" dirty="0" err="1" smtClean="0"/>
              <a:t>further</a:t>
            </a:r>
            <a:r>
              <a:rPr lang="fr-BE" sz="1800" dirty="0" smtClean="0"/>
              <a:t>:</a:t>
            </a:r>
          </a:p>
          <a:p>
            <a:endParaRPr lang="fr-BE" sz="1800" dirty="0"/>
          </a:p>
          <a:p>
            <a:r>
              <a:rPr lang="fr-BE" sz="1800" dirty="0" smtClean="0"/>
              <a:t>FACILITATION </a:t>
            </a:r>
          </a:p>
          <a:p>
            <a:r>
              <a:rPr lang="fr-BE" sz="1800" dirty="0"/>
              <a:t>	</a:t>
            </a:r>
            <a:r>
              <a:rPr lang="fr-BE" sz="1800" dirty="0" smtClean="0"/>
              <a:t>PARTICIPATION </a:t>
            </a:r>
          </a:p>
          <a:p>
            <a:r>
              <a:rPr lang="fr-BE" sz="1800" dirty="0"/>
              <a:t>	</a:t>
            </a:r>
            <a:r>
              <a:rPr lang="fr-BE" sz="1800" dirty="0" smtClean="0"/>
              <a:t>	ITERATIVE</a:t>
            </a:r>
          </a:p>
          <a:p>
            <a:endParaRPr lang="fr-BE" sz="1800" dirty="0"/>
          </a:p>
          <a:p>
            <a:r>
              <a:rPr lang="fr-BE" sz="1800" dirty="0" smtClean="0"/>
              <a:t>CONTEXT SENSITIVITY</a:t>
            </a:r>
          </a:p>
          <a:p>
            <a:endParaRPr lang="fr-BE" sz="1800" dirty="0"/>
          </a:p>
          <a:p>
            <a:r>
              <a:rPr lang="fr-BE" sz="1800" dirty="0" smtClean="0"/>
              <a:t>ASSUMPTIONS</a:t>
            </a:r>
          </a:p>
          <a:p>
            <a:endParaRPr lang="fr-BE" sz="1800" dirty="0"/>
          </a:p>
          <a:p>
            <a:r>
              <a:rPr lang="fr-BE" sz="1800" dirty="0" smtClean="0"/>
              <a:t>REACH (</a:t>
            </a:r>
            <a:r>
              <a:rPr lang="fr-BE" sz="1800" dirty="0" err="1" smtClean="0"/>
              <a:t>who</a:t>
            </a:r>
            <a:r>
              <a:rPr lang="fr-BE" sz="1800" dirty="0" smtClean="0"/>
              <a:t> </a:t>
            </a:r>
            <a:r>
              <a:rPr lang="fr-BE" sz="1800" dirty="0" err="1" smtClean="0"/>
              <a:t>benefits</a:t>
            </a:r>
            <a:r>
              <a:rPr lang="fr-BE" sz="1800" dirty="0" smtClean="0"/>
              <a:t>? </a:t>
            </a:r>
            <a:r>
              <a:rPr lang="fr-BE" sz="1800" dirty="0" err="1" smtClean="0"/>
              <a:t>what</a:t>
            </a:r>
            <a:r>
              <a:rPr lang="fr-BE" sz="1800" dirty="0" smtClean="0"/>
              <a:t> do </a:t>
            </a:r>
            <a:r>
              <a:rPr lang="fr-BE" sz="1800" dirty="0" err="1" smtClean="0"/>
              <a:t>we</a:t>
            </a:r>
            <a:r>
              <a:rPr lang="fr-BE" sz="1800" dirty="0" smtClean="0"/>
              <a:t> control?)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6083205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9A7505FF-B775-4993-B681-F34F746B4F68}" type="slidenum">
              <a:rPr lang="en-GB" smtClean="0">
                <a:latin typeface="Arial" pitchFamily="34" charset="0"/>
              </a:rPr>
              <a:pPr/>
              <a:t>15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3316" name="AutoShape 4"/>
          <p:cNvSpPr>
            <a:spLocks noChangeArrowheads="1"/>
          </p:cNvSpPr>
          <p:nvPr/>
        </p:nvSpPr>
        <p:spPr bwMode="auto">
          <a:xfrm>
            <a:off x="519522" y="5659438"/>
            <a:ext cx="4724400" cy="609600"/>
          </a:xfrm>
          <a:prstGeom prst="homePlate">
            <a:avLst>
              <a:gd name="adj" fmla="val 45065"/>
            </a:avLst>
          </a:prstGeom>
          <a:gradFill rotWithShape="0">
            <a:gsLst>
              <a:gs pos="0">
                <a:srgbClr val="FFD624"/>
              </a:gs>
              <a:gs pos="100000">
                <a:srgbClr val="FFFFFF"/>
              </a:gs>
            </a:gsLst>
            <a:lin ang="0" scaled="1"/>
          </a:grad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en-GB" sz="2400" b="1" dirty="0" smtClean="0"/>
              <a:t>EVALUATION</a:t>
            </a:r>
            <a:endParaRPr lang="en-GB" sz="2400" b="1" dirty="0"/>
          </a:p>
        </p:txBody>
      </p:sp>
      <p:sp>
        <p:nvSpPr>
          <p:cNvPr id="13317" name="Rectangle 5"/>
          <p:cNvSpPr>
            <a:spLocks noChangeArrowheads="1"/>
          </p:cNvSpPr>
          <p:nvPr/>
        </p:nvSpPr>
        <p:spPr bwMode="auto">
          <a:xfrm>
            <a:off x="4500563" y="3071813"/>
            <a:ext cx="4140200" cy="2892425"/>
          </a:xfrm>
          <a:prstGeom prst="rect">
            <a:avLst/>
          </a:prstGeom>
          <a:noFill/>
          <a:ln>
            <a:noFill/>
          </a:ln>
          <a:extLst/>
        </p:spPr>
        <p:txBody>
          <a:bodyPr lIns="90488" tIns="44450" rIns="90488" bIns="44450"/>
          <a:lstStyle/>
          <a:p>
            <a:pPr lvl="1" indent="-285750" defTabSz="719138" eaLnBrk="0" hangingPunct="0">
              <a:lnSpc>
                <a:spcPct val="85000"/>
              </a:lnSpc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endParaRPr lang="en-GB" sz="2000" dirty="0">
              <a:latin typeface="+mn-lt"/>
            </a:endParaRPr>
          </a:p>
        </p:txBody>
      </p:sp>
      <p:sp>
        <p:nvSpPr>
          <p:cNvPr id="13318" name="AutoShape 6"/>
          <p:cNvSpPr>
            <a:spLocks noChangeArrowheads="1"/>
          </p:cNvSpPr>
          <p:nvPr/>
        </p:nvSpPr>
        <p:spPr bwMode="auto">
          <a:xfrm>
            <a:off x="519522" y="4597896"/>
            <a:ext cx="4620444" cy="609600"/>
          </a:xfrm>
          <a:prstGeom prst="homePlate">
            <a:avLst>
              <a:gd name="adj" fmla="val 46788"/>
            </a:avLst>
          </a:prstGeom>
          <a:gradFill rotWithShape="0">
            <a:gsLst>
              <a:gs pos="0">
                <a:srgbClr val="FFD624"/>
              </a:gs>
              <a:gs pos="100000">
                <a:srgbClr val="FFFFFF"/>
              </a:gs>
            </a:gsLst>
            <a:lin ang="0" scaled="1"/>
          </a:grad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en-GB" sz="2400" b="1" dirty="0" smtClean="0">
                <a:cs typeface="Arial" pitchFamily="34" charset="0"/>
              </a:rPr>
              <a:t>MONITORING</a:t>
            </a:r>
            <a:endParaRPr lang="en-GB" sz="2400" b="1" dirty="0">
              <a:cs typeface="Arial" pitchFamily="34" charset="0"/>
            </a:endParaRPr>
          </a:p>
        </p:txBody>
      </p:sp>
      <p:sp>
        <p:nvSpPr>
          <p:cNvPr id="13319" name="Title 8"/>
          <p:cNvSpPr>
            <a:spLocks noGrp="1"/>
          </p:cNvSpPr>
          <p:nvPr>
            <p:ph type="title" idx="4294967295"/>
          </p:nvPr>
        </p:nvSpPr>
        <p:spPr>
          <a:xfrm>
            <a:off x="0" y="1124744"/>
            <a:ext cx="9144000" cy="990600"/>
          </a:xfrm>
        </p:spPr>
        <p:txBody>
          <a:bodyPr/>
          <a:lstStyle/>
          <a:p>
            <a:pPr indent="0" algn="ctr" eaLnBrk="1" hangingPunct="1"/>
            <a:r>
              <a:rPr lang="en-US" dirty="0" smtClean="0"/>
              <a:t>The LFA goes beyond planning</a:t>
            </a:r>
            <a:endParaRPr lang="fr-FR" dirty="0" smtClean="0"/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571500" y="2348880"/>
            <a:ext cx="4620444" cy="1512168"/>
          </a:xfrm>
          <a:prstGeom prst="homePlate">
            <a:avLst>
              <a:gd name="adj" fmla="val 46788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en-GB" sz="2400" b="1" dirty="0" smtClean="0"/>
              <a:t>IMPLEMENT</a:t>
            </a:r>
            <a:r>
              <a:rPr lang="en-GB" sz="2400" b="1" dirty="0" smtClean="0">
                <a:cs typeface="Arial" pitchFamily="34" charset="0"/>
              </a:rPr>
              <a:t>ATION</a:t>
            </a:r>
            <a:endParaRPr lang="en-GB" sz="2400" b="1" dirty="0"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260820" y="1950802"/>
            <a:ext cx="3651601" cy="212365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dirty="0" smtClean="0"/>
              <a:t>The IL and LFM </a:t>
            </a:r>
            <a:r>
              <a:rPr lang="fr-BE" dirty="0" err="1" smtClean="0"/>
              <a:t>should</a:t>
            </a:r>
            <a:r>
              <a:rPr lang="fr-BE" dirty="0" smtClean="0"/>
              <a:t>  </a:t>
            </a:r>
            <a:r>
              <a:rPr lang="fr-BE" dirty="0" err="1" smtClean="0"/>
              <a:t>be</a:t>
            </a:r>
            <a:r>
              <a:rPr lang="fr-BE" dirty="0" smtClean="0"/>
              <a:t> </a:t>
            </a:r>
            <a:r>
              <a:rPr lang="fr-BE" dirty="0" err="1" smtClean="0"/>
              <a:t>adapted</a:t>
            </a:r>
            <a:r>
              <a:rPr lang="fr-BE" dirty="0" smtClean="0"/>
              <a:t> to </a:t>
            </a:r>
            <a:r>
              <a:rPr lang="fr-BE" dirty="0" err="1" smtClean="0"/>
              <a:t>take</a:t>
            </a:r>
            <a:r>
              <a:rPr lang="fr-BE" dirty="0" smtClean="0"/>
              <a:t> </a:t>
            </a:r>
            <a:r>
              <a:rPr lang="fr-BE" dirty="0" err="1" smtClean="0"/>
              <a:t>account</a:t>
            </a:r>
            <a:r>
              <a:rPr lang="fr-BE" dirty="0" smtClean="0"/>
              <a:t> of possible </a:t>
            </a:r>
            <a:r>
              <a:rPr lang="fr-BE" b="1" dirty="0" smtClean="0"/>
              <a:t>changes in the </a:t>
            </a:r>
            <a:r>
              <a:rPr lang="fr-BE" b="1" dirty="0" err="1" smtClean="0"/>
              <a:t>context</a:t>
            </a:r>
            <a:endParaRPr lang="fr-BE" b="1" dirty="0" smtClean="0"/>
          </a:p>
          <a:p>
            <a:endParaRPr lang="fr-BE" dirty="0"/>
          </a:p>
          <a:p>
            <a:r>
              <a:rPr lang="fr-BE" dirty="0" smtClean="0"/>
              <a:t>The LFM </a:t>
            </a:r>
            <a:r>
              <a:rPr lang="fr-BE" dirty="0" err="1" smtClean="0"/>
              <a:t>is</a:t>
            </a:r>
            <a:r>
              <a:rPr lang="fr-BE" dirty="0" smtClean="0"/>
              <a:t> an essential </a:t>
            </a:r>
            <a:r>
              <a:rPr lang="fr-BE" b="1" dirty="0" err="1" smtClean="0"/>
              <a:t>reporting</a:t>
            </a:r>
            <a:r>
              <a:rPr lang="fr-BE" dirty="0" smtClean="0"/>
              <a:t> </a:t>
            </a:r>
            <a:r>
              <a:rPr lang="fr-BE" dirty="0" err="1" smtClean="0"/>
              <a:t>tool</a:t>
            </a:r>
            <a:endParaRPr lang="fr-BE" dirty="0" smtClean="0"/>
          </a:p>
          <a:p>
            <a:endParaRPr lang="fr-BE" dirty="0"/>
          </a:p>
          <a:p>
            <a:r>
              <a:rPr lang="fr-BE" dirty="0" smtClean="0"/>
              <a:t>The LFM </a:t>
            </a:r>
            <a:r>
              <a:rPr lang="fr-BE" dirty="0" err="1" smtClean="0"/>
              <a:t>provides</a:t>
            </a:r>
            <a:r>
              <a:rPr lang="fr-BE" dirty="0" smtClean="0"/>
              <a:t> the basis for </a:t>
            </a:r>
            <a:r>
              <a:rPr lang="fr-BE" dirty="0" err="1" smtClean="0"/>
              <a:t>scheduling</a:t>
            </a:r>
            <a:r>
              <a:rPr lang="fr-BE" dirty="0" smtClean="0"/>
              <a:t> </a:t>
            </a:r>
            <a:r>
              <a:rPr lang="fr-BE" dirty="0" err="1" smtClean="0"/>
              <a:t>activities</a:t>
            </a:r>
            <a:r>
              <a:rPr lang="fr-BE" dirty="0" smtClean="0"/>
              <a:t> and </a:t>
            </a:r>
            <a:r>
              <a:rPr lang="fr-BE" dirty="0" err="1" smtClean="0"/>
              <a:t>resources</a:t>
            </a:r>
            <a:r>
              <a:rPr lang="fr-BE" dirty="0" smtClean="0"/>
              <a:t> </a:t>
            </a:r>
          </a:p>
          <a:p>
            <a:endParaRPr lang="fr-BE" dirty="0"/>
          </a:p>
          <a:p>
            <a:r>
              <a:rPr lang="fr-BE" dirty="0" smtClean="0"/>
              <a:t>The LFM </a:t>
            </a:r>
            <a:r>
              <a:rPr lang="fr-BE" dirty="0" err="1" smtClean="0"/>
              <a:t>provides</a:t>
            </a:r>
            <a:r>
              <a:rPr lang="fr-BE" dirty="0" smtClean="0"/>
              <a:t> a good </a:t>
            </a:r>
            <a:r>
              <a:rPr lang="fr-BE" b="1" dirty="0" err="1" smtClean="0"/>
              <a:t>summary</a:t>
            </a:r>
            <a:r>
              <a:rPr lang="fr-BE" dirty="0" smtClean="0"/>
              <a:t> of the action and </a:t>
            </a:r>
            <a:r>
              <a:rPr lang="fr-BE" dirty="0" err="1" smtClean="0"/>
              <a:t>therefore</a:t>
            </a:r>
            <a:r>
              <a:rPr lang="fr-BE" dirty="0" smtClean="0"/>
              <a:t> </a:t>
            </a:r>
            <a:r>
              <a:rPr lang="fr-BE" b="1" dirty="0" err="1" smtClean="0"/>
              <a:t>helps</a:t>
            </a:r>
            <a:r>
              <a:rPr lang="fr-BE" b="1" dirty="0" smtClean="0"/>
              <a:t> communication </a:t>
            </a:r>
            <a:r>
              <a:rPr lang="fr-BE" b="1" dirty="0" err="1" smtClean="0"/>
              <a:t>among</a:t>
            </a:r>
            <a:r>
              <a:rPr lang="fr-BE" b="1" dirty="0" smtClean="0"/>
              <a:t> </a:t>
            </a:r>
            <a:r>
              <a:rPr lang="fr-BE" b="1" dirty="0" err="1" smtClean="0"/>
              <a:t>stakeholders</a:t>
            </a:r>
            <a:r>
              <a:rPr lang="fr-BE" b="1" dirty="0" smtClean="0"/>
              <a:t> (dialogue) </a:t>
            </a:r>
            <a:endParaRPr lang="en-GB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5267296" y="4622877"/>
            <a:ext cx="3651601" cy="46166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dirty="0" smtClean="0"/>
              <a:t>The LFM in </a:t>
            </a:r>
            <a:r>
              <a:rPr lang="fr-BE" dirty="0" err="1" smtClean="0"/>
              <a:t>particular</a:t>
            </a:r>
            <a:r>
              <a:rPr lang="fr-BE" dirty="0" smtClean="0"/>
              <a:t> </a:t>
            </a:r>
            <a:r>
              <a:rPr lang="fr-BE" dirty="0" err="1" smtClean="0"/>
              <a:t>will</a:t>
            </a:r>
            <a:r>
              <a:rPr lang="fr-BE" dirty="0" smtClean="0"/>
              <a:t> </a:t>
            </a:r>
            <a:r>
              <a:rPr lang="fr-BE" dirty="0" err="1" smtClean="0"/>
              <a:t>be</a:t>
            </a:r>
            <a:r>
              <a:rPr lang="fr-BE" dirty="0" smtClean="0"/>
              <a:t> crucial for the </a:t>
            </a:r>
            <a:r>
              <a:rPr lang="fr-BE" b="1" dirty="0" smtClean="0"/>
              <a:t>monitoring on </a:t>
            </a:r>
            <a:r>
              <a:rPr lang="fr-BE" b="1" dirty="0" err="1" smtClean="0"/>
              <a:t>results</a:t>
            </a:r>
            <a:endParaRPr lang="fr-BE" b="1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5260820" y="5283021"/>
            <a:ext cx="3651601" cy="12003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dirty="0" smtClean="0"/>
              <a:t>The IL and LFM </a:t>
            </a:r>
            <a:r>
              <a:rPr lang="fr-BE" dirty="0" err="1" smtClean="0"/>
              <a:t>will</a:t>
            </a:r>
            <a:r>
              <a:rPr lang="fr-BE" dirty="0" smtClean="0"/>
              <a:t> </a:t>
            </a:r>
            <a:r>
              <a:rPr lang="fr-BE" dirty="0" err="1" smtClean="0"/>
              <a:t>facilitate</a:t>
            </a:r>
            <a:r>
              <a:rPr lang="fr-BE" dirty="0" smtClean="0"/>
              <a:t> </a:t>
            </a:r>
            <a:r>
              <a:rPr lang="fr-BE" b="1" dirty="0" err="1" smtClean="0"/>
              <a:t>evaluation</a:t>
            </a:r>
            <a:r>
              <a:rPr lang="fr-BE" b="1" dirty="0" smtClean="0"/>
              <a:t> in </a:t>
            </a:r>
            <a:r>
              <a:rPr lang="fr-BE" b="1" dirty="0" err="1" smtClean="0"/>
              <a:t>terms</a:t>
            </a:r>
            <a:r>
              <a:rPr lang="fr-BE" b="1" dirty="0" smtClean="0"/>
              <a:t> of </a:t>
            </a:r>
            <a:r>
              <a:rPr lang="fr-BE" dirty="0" smtClean="0"/>
              <a:t>relevance, </a:t>
            </a:r>
            <a:r>
              <a:rPr lang="fr-BE" dirty="0" err="1" smtClean="0"/>
              <a:t>efficiency</a:t>
            </a:r>
            <a:r>
              <a:rPr lang="fr-BE" dirty="0" smtClean="0"/>
              <a:t>, </a:t>
            </a:r>
            <a:r>
              <a:rPr lang="fr-BE" dirty="0" err="1" smtClean="0"/>
              <a:t>effectiveness</a:t>
            </a:r>
            <a:r>
              <a:rPr lang="fr-BE" dirty="0" smtClean="0"/>
              <a:t>, impact and </a:t>
            </a:r>
            <a:r>
              <a:rPr lang="fr-BE" dirty="0" err="1" smtClean="0"/>
              <a:t>sustainability</a:t>
            </a:r>
            <a:r>
              <a:rPr lang="fr-BE" dirty="0" smtClean="0"/>
              <a:t> and  </a:t>
            </a:r>
            <a:r>
              <a:rPr lang="fr-BE" b="1" dirty="0" err="1" smtClean="0"/>
              <a:t>will</a:t>
            </a:r>
            <a:r>
              <a:rPr lang="fr-BE" b="1" dirty="0" smtClean="0"/>
              <a:t> </a:t>
            </a:r>
            <a:r>
              <a:rPr lang="fr-BE" b="1" dirty="0" err="1" smtClean="0"/>
              <a:t>allow</a:t>
            </a:r>
            <a:r>
              <a:rPr lang="fr-BE" b="1" dirty="0" smtClean="0"/>
              <a:t> </a:t>
            </a:r>
            <a:r>
              <a:rPr lang="fr-BE" b="1" dirty="0" err="1" smtClean="0"/>
              <a:t>lessons</a:t>
            </a:r>
            <a:r>
              <a:rPr lang="fr-BE" dirty="0" smtClean="0"/>
              <a:t> to </a:t>
            </a:r>
            <a:r>
              <a:rPr lang="fr-BE" dirty="0" err="1" smtClean="0"/>
              <a:t>be</a:t>
            </a:r>
            <a:r>
              <a:rPr lang="fr-BE" dirty="0" smtClean="0"/>
              <a:t> </a:t>
            </a:r>
            <a:r>
              <a:rPr lang="fr-BE" dirty="0" err="1" smtClean="0"/>
              <a:t>drawn</a:t>
            </a:r>
            <a:r>
              <a:rPr lang="fr-BE" dirty="0" smtClean="0"/>
              <a:t> (</a:t>
            </a:r>
            <a:r>
              <a:rPr lang="fr-BE" dirty="0" err="1" smtClean="0"/>
              <a:t>what</a:t>
            </a:r>
            <a:r>
              <a:rPr lang="fr-BE" dirty="0" smtClean="0"/>
              <a:t> </a:t>
            </a:r>
            <a:r>
              <a:rPr lang="fr-BE" dirty="0" err="1" smtClean="0"/>
              <a:t>went</a:t>
            </a:r>
            <a:r>
              <a:rPr lang="fr-BE" dirty="0" smtClean="0"/>
              <a:t> </a:t>
            </a:r>
            <a:r>
              <a:rPr lang="fr-BE" dirty="0" err="1" smtClean="0"/>
              <a:t>wrong</a:t>
            </a:r>
            <a:r>
              <a:rPr lang="fr-BE" dirty="0"/>
              <a:t> </a:t>
            </a:r>
            <a:r>
              <a:rPr lang="fr-BE" dirty="0" smtClean="0"/>
              <a:t>or </a:t>
            </a:r>
            <a:r>
              <a:rPr lang="fr-BE" dirty="0" err="1" smtClean="0"/>
              <a:t>well</a:t>
            </a:r>
            <a:r>
              <a:rPr lang="fr-BE" dirty="0" smtClean="0"/>
              <a:t>? </a:t>
            </a:r>
            <a:r>
              <a:rPr lang="fr-BE" dirty="0" err="1" smtClean="0"/>
              <a:t>Why</a:t>
            </a:r>
            <a:r>
              <a:rPr lang="fr-BE" dirty="0" smtClean="0"/>
              <a:t>? Are </a:t>
            </a:r>
            <a:r>
              <a:rPr lang="fr-BE" dirty="0" err="1" smtClean="0"/>
              <a:t>there</a:t>
            </a:r>
            <a:r>
              <a:rPr lang="fr-BE" dirty="0" smtClean="0"/>
              <a:t> conclusions relevant to </a:t>
            </a:r>
            <a:r>
              <a:rPr lang="fr-BE" dirty="0" err="1" smtClean="0"/>
              <a:t>other</a:t>
            </a:r>
            <a:r>
              <a:rPr lang="fr-BE" dirty="0" smtClean="0"/>
              <a:t> </a:t>
            </a:r>
            <a:r>
              <a:rPr lang="fr-BE" dirty="0" err="1" smtClean="0"/>
              <a:t>similar</a:t>
            </a:r>
            <a:r>
              <a:rPr lang="fr-BE" dirty="0" smtClean="0"/>
              <a:t> actions? etc…)</a:t>
            </a:r>
          </a:p>
        </p:txBody>
      </p:sp>
    </p:spTree>
    <p:extLst>
      <p:ext uri="{BB962C8B-B14F-4D97-AF65-F5344CB8AC3E}">
        <p14:creationId xmlns:p14="http://schemas.microsoft.com/office/powerpoint/2010/main" val="2479162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124744"/>
            <a:ext cx="8229600" cy="936625"/>
          </a:xfrm>
        </p:spPr>
        <p:txBody>
          <a:bodyPr/>
          <a:lstStyle/>
          <a:p>
            <a:pPr algn="ctr"/>
            <a:r>
              <a:rPr lang="fr-BE" sz="2800" dirty="0" smtClean="0"/>
              <a:t>The Action Document </a:t>
            </a:r>
            <a:r>
              <a:rPr lang="fr-BE" sz="2800" dirty="0" err="1" smtClean="0"/>
              <a:t>is</a:t>
            </a:r>
            <a:r>
              <a:rPr lang="fr-BE" sz="2800" dirty="0" smtClean="0"/>
              <a:t> </a:t>
            </a:r>
            <a:r>
              <a:rPr lang="fr-BE" sz="2800" dirty="0" err="1" smtClean="0"/>
              <a:t>structured</a:t>
            </a:r>
            <a:r>
              <a:rPr lang="fr-BE" sz="2800" dirty="0" smtClean="0"/>
              <a:t> </a:t>
            </a:r>
            <a:r>
              <a:rPr lang="fr-BE" sz="2800" dirty="0" err="1" smtClean="0"/>
              <a:t>around</a:t>
            </a:r>
            <a:r>
              <a:rPr lang="fr-BE" sz="2800" dirty="0" smtClean="0"/>
              <a:t> the LFA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2132856"/>
            <a:ext cx="8229600" cy="4464496"/>
          </a:xfrm>
        </p:spPr>
        <p:txBody>
          <a:bodyPr/>
          <a:lstStyle/>
          <a:p>
            <a:pPr marL="0" indent="0">
              <a:buClr>
                <a:schemeClr val="tx1"/>
              </a:buClr>
              <a:buNone/>
            </a:pPr>
            <a:r>
              <a:rPr lang="fr-BE" sz="1800" dirty="0" smtClean="0"/>
              <a:t>There </a:t>
            </a:r>
            <a:r>
              <a:rPr lang="fr-BE" sz="1800" dirty="0" err="1" smtClean="0"/>
              <a:t>is</a:t>
            </a:r>
            <a:r>
              <a:rPr lang="fr-BE" sz="1800" dirty="0" smtClean="0"/>
              <a:t> a progressive </a:t>
            </a:r>
            <a:r>
              <a:rPr lang="fr-BE" sz="1800" dirty="0" err="1" smtClean="0"/>
              <a:t>approach</a:t>
            </a:r>
            <a:r>
              <a:rPr lang="fr-BE" sz="1800" dirty="0" smtClean="0"/>
              <a:t> </a:t>
            </a:r>
            <a:r>
              <a:rPr lang="fr-BE" sz="1800" dirty="0" err="1" smtClean="0"/>
              <a:t>from</a:t>
            </a:r>
            <a:r>
              <a:rPr lang="fr-BE" sz="1800" dirty="0" smtClean="0"/>
              <a:t> </a:t>
            </a:r>
            <a:r>
              <a:rPr lang="fr-BE" sz="1800" dirty="0" err="1" smtClean="0"/>
              <a:t>programming</a:t>
            </a:r>
            <a:r>
              <a:rPr lang="fr-BE" sz="1800" dirty="0" smtClean="0"/>
              <a:t> </a:t>
            </a:r>
            <a:r>
              <a:rPr lang="fr-BE" sz="1800" dirty="0" err="1" smtClean="0"/>
              <a:t>through</a:t>
            </a:r>
            <a:r>
              <a:rPr lang="fr-BE" sz="1800" dirty="0" smtClean="0"/>
              <a:t> to formulation </a:t>
            </a:r>
            <a:r>
              <a:rPr lang="fr-BE" sz="1800" dirty="0" err="1" smtClean="0"/>
              <a:t>with</a:t>
            </a:r>
            <a:r>
              <a:rPr lang="fr-BE" sz="1800" dirty="0" smtClean="0"/>
              <a:t> a </a:t>
            </a:r>
            <a:r>
              <a:rPr lang="fr-BE" sz="1800" dirty="0" err="1" smtClean="0"/>
              <a:t>corresponding</a:t>
            </a:r>
            <a:r>
              <a:rPr lang="fr-BE" sz="1800" dirty="0" smtClean="0"/>
              <a:t> shift in focus:</a:t>
            </a:r>
            <a:endParaRPr lang="fr-BE" sz="1800" dirty="0"/>
          </a:p>
          <a:p>
            <a:pPr marL="0" indent="0">
              <a:buClr>
                <a:schemeClr val="tx1"/>
              </a:buClr>
              <a:buNone/>
            </a:pPr>
            <a:endParaRPr lang="fr-BE" sz="1800" dirty="0" smtClean="0"/>
          </a:p>
          <a:p>
            <a:pPr>
              <a:buClr>
                <a:schemeClr val="tx1"/>
              </a:buClr>
            </a:pPr>
            <a:r>
              <a:rPr lang="fr-BE" sz="1400" dirty="0" smtClean="0"/>
              <a:t>During </a:t>
            </a:r>
            <a:r>
              <a:rPr lang="fr-BE" sz="1400" b="1" dirty="0" err="1" smtClean="0"/>
              <a:t>programming</a:t>
            </a:r>
            <a:r>
              <a:rPr lang="fr-BE" sz="1400" b="1" dirty="0" smtClean="0"/>
              <a:t>, </a:t>
            </a:r>
            <a:r>
              <a:rPr lang="fr-BE" sz="1400" dirty="0" smtClean="0"/>
              <a:t>the </a:t>
            </a:r>
            <a:r>
              <a:rPr lang="fr-BE" sz="1400" dirty="0" err="1" smtClean="0"/>
              <a:t>c</a:t>
            </a:r>
            <a:r>
              <a:rPr lang="fr-BE" sz="1400" u="sng" dirty="0" err="1" smtClean="0"/>
              <a:t>hoice</a:t>
            </a:r>
            <a:r>
              <a:rPr lang="fr-BE" sz="1400" u="sng" dirty="0" smtClean="0"/>
              <a:t> of </a:t>
            </a:r>
            <a:r>
              <a:rPr lang="fr-BE" sz="1400" u="sng" dirty="0" err="1" smtClean="0"/>
              <a:t>sectors</a:t>
            </a:r>
            <a:r>
              <a:rPr lang="fr-BE" sz="1400" dirty="0" smtClean="0"/>
              <a:t> and </a:t>
            </a:r>
            <a:r>
              <a:rPr lang="fr-BE" sz="1400" dirty="0" err="1" smtClean="0"/>
              <a:t>related</a:t>
            </a:r>
            <a:r>
              <a:rPr lang="fr-BE" sz="1400" dirty="0" smtClean="0"/>
              <a:t> </a:t>
            </a:r>
            <a:r>
              <a:rPr lang="fr-BE" sz="1400" u="sng" dirty="0" err="1" smtClean="0"/>
              <a:t>indicators</a:t>
            </a:r>
            <a:r>
              <a:rPr lang="fr-BE" sz="1400" dirty="0" smtClean="0"/>
              <a:t> </a:t>
            </a:r>
            <a:r>
              <a:rPr lang="fr-BE" sz="1400" dirty="0" err="1" smtClean="0"/>
              <a:t>is</a:t>
            </a:r>
            <a:r>
              <a:rPr lang="fr-BE" sz="1400" dirty="0" smtClean="0"/>
              <a:t> </a:t>
            </a:r>
            <a:r>
              <a:rPr lang="fr-BE" sz="1400" dirty="0" err="1" smtClean="0"/>
              <a:t>based</a:t>
            </a:r>
            <a:r>
              <a:rPr lang="fr-BE" sz="1400" dirty="0" smtClean="0"/>
              <a:t> on </a:t>
            </a:r>
            <a:r>
              <a:rPr lang="fr-BE" sz="1400" dirty="0" err="1" smtClean="0"/>
              <a:t>partner’s</a:t>
            </a:r>
            <a:r>
              <a:rPr lang="fr-BE" sz="1400" dirty="0" smtClean="0"/>
              <a:t> plans, EU </a:t>
            </a:r>
            <a:r>
              <a:rPr lang="fr-BE" sz="1400" dirty="0" err="1" smtClean="0"/>
              <a:t>policies</a:t>
            </a:r>
            <a:r>
              <a:rPr lang="fr-BE" sz="1400" dirty="0" smtClean="0"/>
              <a:t> and </a:t>
            </a:r>
            <a:r>
              <a:rPr lang="fr-BE" sz="1400" dirty="0" err="1" smtClean="0"/>
              <a:t>relationship</a:t>
            </a:r>
            <a:r>
              <a:rPr lang="fr-BE" sz="1400" dirty="0" smtClean="0"/>
              <a:t> </a:t>
            </a:r>
            <a:r>
              <a:rPr lang="fr-BE" sz="1400" dirty="0" err="1" smtClean="0"/>
              <a:t>with</a:t>
            </a:r>
            <a:r>
              <a:rPr lang="fr-BE" sz="1400" dirty="0" smtClean="0"/>
              <a:t> the </a:t>
            </a:r>
            <a:r>
              <a:rPr lang="fr-BE" sz="1400" dirty="0" err="1" smtClean="0"/>
              <a:t>partner</a:t>
            </a:r>
            <a:r>
              <a:rPr lang="fr-BE" sz="1400" dirty="0" smtClean="0"/>
              <a:t>, and EU values;</a:t>
            </a:r>
            <a:endParaRPr lang="fr-BE" sz="1400" b="1" dirty="0" smtClean="0"/>
          </a:p>
          <a:p>
            <a:pPr>
              <a:buClr>
                <a:schemeClr val="tx1"/>
              </a:buClr>
            </a:pPr>
            <a:r>
              <a:rPr lang="fr-BE" sz="1400" dirty="0" smtClean="0"/>
              <a:t>During </a:t>
            </a:r>
            <a:r>
              <a:rPr lang="fr-BE" sz="1400" b="1" dirty="0" smtClean="0"/>
              <a:t>identification</a:t>
            </a:r>
            <a:r>
              <a:rPr lang="fr-BE" sz="1400" dirty="0" smtClean="0"/>
              <a:t> the focus </a:t>
            </a:r>
            <a:r>
              <a:rPr lang="fr-BE" sz="1400" dirty="0" err="1" smtClean="0"/>
              <a:t>is</a:t>
            </a:r>
            <a:r>
              <a:rPr lang="fr-BE" sz="1400" dirty="0" smtClean="0"/>
              <a:t> on </a:t>
            </a:r>
            <a:r>
              <a:rPr lang="fr-BE" sz="1400" dirty="0" err="1" smtClean="0"/>
              <a:t>context</a:t>
            </a:r>
            <a:r>
              <a:rPr lang="fr-BE" sz="1400" dirty="0" smtClean="0"/>
              <a:t> analyses (for </a:t>
            </a:r>
            <a:r>
              <a:rPr lang="fr-BE" sz="1400" dirty="0" err="1" smtClean="0"/>
              <a:t>each</a:t>
            </a:r>
            <a:r>
              <a:rPr lang="fr-BE" sz="1400" dirty="0" smtClean="0"/>
              <a:t> </a:t>
            </a:r>
            <a:r>
              <a:rPr lang="fr-BE" sz="1400" dirty="0" err="1" smtClean="0"/>
              <a:t>sector</a:t>
            </a:r>
            <a:r>
              <a:rPr lang="fr-BE" sz="1400" dirty="0" smtClean="0"/>
              <a:t>), </a:t>
            </a:r>
            <a:r>
              <a:rPr lang="fr-BE" sz="1400" dirty="0" err="1" smtClean="0"/>
              <a:t>risks</a:t>
            </a:r>
            <a:r>
              <a:rPr lang="fr-BE" sz="1400" dirty="0" smtClean="0"/>
              <a:t>, </a:t>
            </a:r>
            <a:r>
              <a:rPr lang="fr-BE" sz="1400" dirty="0" err="1" smtClean="0"/>
              <a:t>assumptions</a:t>
            </a:r>
            <a:r>
              <a:rPr lang="fr-BE" sz="1400" dirty="0" smtClean="0"/>
              <a:t>, </a:t>
            </a:r>
            <a:r>
              <a:rPr lang="fr-BE" sz="1400" dirty="0" err="1" smtClean="0"/>
              <a:t>lessons</a:t>
            </a:r>
            <a:r>
              <a:rPr lang="fr-BE" sz="1400" dirty="0" smtClean="0"/>
              <a:t> </a:t>
            </a:r>
            <a:r>
              <a:rPr lang="fr-BE" sz="1400" dirty="0" err="1" smtClean="0"/>
              <a:t>learned</a:t>
            </a:r>
            <a:r>
              <a:rPr lang="fr-BE" sz="1400" dirty="0" smtClean="0"/>
              <a:t>, </a:t>
            </a:r>
            <a:r>
              <a:rPr lang="fr-BE" sz="1400" dirty="0" err="1" smtClean="0"/>
              <a:t>complementarity</a:t>
            </a:r>
            <a:r>
              <a:rPr lang="fr-BE" sz="1400" dirty="0" smtClean="0"/>
              <a:t>, cross </a:t>
            </a:r>
            <a:r>
              <a:rPr lang="fr-BE" sz="1400" dirty="0" err="1" smtClean="0"/>
              <a:t>cutting</a:t>
            </a:r>
            <a:r>
              <a:rPr lang="fr-BE" sz="1400" dirty="0" smtClean="0"/>
              <a:t> issues and </a:t>
            </a:r>
            <a:r>
              <a:rPr lang="fr-BE" sz="1400" dirty="0" err="1" smtClean="0"/>
              <a:t>outcome</a:t>
            </a:r>
            <a:r>
              <a:rPr lang="fr-BE" sz="1400" dirty="0" smtClean="0"/>
              <a:t>(s). </a:t>
            </a:r>
          </a:p>
          <a:p>
            <a:pPr>
              <a:buClr>
                <a:schemeClr val="tx1"/>
              </a:buClr>
            </a:pPr>
            <a:r>
              <a:rPr lang="fr-BE" sz="1400" dirty="0" smtClean="0"/>
              <a:t>During </a:t>
            </a:r>
            <a:r>
              <a:rPr lang="fr-BE" sz="1400" b="1" dirty="0" smtClean="0"/>
              <a:t>formulation</a:t>
            </a:r>
            <a:r>
              <a:rPr lang="fr-BE" sz="1400" dirty="0" smtClean="0"/>
              <a:t>, the focus </a:t>
            </a:r>
            <a:r>
              <a:rPr lang="fr-BE" sz="1400" dirty="0" err="1" smtClean="0"/>
              <a:t>is</a:t>
            </a:r>
            <a:r>
              <a:rPr lang="fr-BE" sz="1400" dirty="0" smtClean="0"/>
              <a:t> on the IL, LFM (or indicative </a:t>
            </a:r>
            <a:r>
              <a:rPr lang="fr-BE" sz="1400" dirty="0" err="1" smtClean="0"/>
              <a:t>list</a:t>
            </a:r>
            <a:r>
              <a:rPr lang="fr-BE" sz="1400" dirty="0" smtClean="0"/>
              <a:t> of </a:t>
            </a:r>
            <a:r>
              <a:rPr lang="fr-BE" sz="1400" dirty="0" err="1" smtClean="0"/>
              <a:t>result</a:t>
            </a:r>
            <a:r>
              <a:rPr lang="fr-BE" sz="1400" dirty="0" smtClean="0"/>
              <a:t> </a:t>
            </a:r>
            <a:r>
              <a:rPr lang="fr-BE" sz="1400" dirty="0" err="1" smtClean="0"/>
              <a:t>indicators</a:t>
            </a:r>
            <a:r>
              <a:rPr lang="fr-BE" sz="1400" dirty="0" smtClean="0"/>
              <a:t> for BS) and </a:t>
            </a:r>
            <a:r>
              <a:rPr lang="fr-BE" sz="1400" dirty="0" err="1" smtClean="0"/>
              <a:t>implementing</a:t>
            </a:r>
            <a:r>
              <a:rPr lang="fr-BE" sz="1400" dirty="0" smtClean="0"/>
              <a:t> arrangements.</a:t>
            </a:r>
          </a:p>
          <a:p>
            <a:pPr>
              <a:buClr>
                <a:schemeClr val="tx1"/>
              </a:buClr>
            </a:pPr>
            <a:endParaRPr lang="fr-BE" sz="1400" b="1" dirty="0" smtClean="0"/>
          </a:p>
          <a:p>
            <a:pPr marL="0" indent="0">
              <a:buClr>
                <a:schemeClr val="tx1"/>
              </a:buClr>
              <a:buNone/>
            </a:pPr>
            <a:r>
              <a:rPr lang="fr-BE" dirty="0" err="1" smtClean="0"/>
              <a:t>What</a:t>
            </a:r>
            <a:r>
              <a:rPr lang="fr-BE" dirty="0" smtClean="0"/>
              <a:t> </a:t>
            </a:r>
            <a:r>
              <a:rPr lang="fr-BE" dirty="0" err="1"/>
              <a:t>does</a:t>
            </a:r>
            <a:r>
              <a:rPr lang="fr-BE" dirty="0"/>
              <a:t> the AD </a:t>
            </a:r>
            <a:r>
              <a:rPr lang="fr-BE" dirty="0" err="1" smtClean="0"/>
              <a:t>formally</a:t>
            </a:r>
            <a:r>
              <a:rPr lang="fr-BE" dirty="0" smtClean="0"/>
              <a:t> </a:t>
            </a:r>
            <a:r>
              <a:rPr lang="fr-BE" dirty="0" err="1" smtClean="0"/>
              <a:t>request</a:t>
            </a:r>
            <a:r>
              <a:rPr lang="fr-BE" dirty="0" smtClean="0"/>
              <a:t>? </a:t>
            </a:r>
          </a:p>
          <a:p>
            <a:pPr marL="342900" lvl="1" indent="-342900">
              <a:buClr>
                <a:schemeClr val="tx1"/>
              </a:buClr>
            </a:pPr>
            <a:r>
              <a:rPr lang="fr-BE" sz="1800" b="0" i="1" dirty="0" smtClean="0">
                <a:ea typeface="+mn-ea"/>
                <a:cs typeface="+mn-cs"/>
              </a:rPr>
              <a:t>All the </a:t>
            </a:r>
            <a:r>
              <a:rPr lang="fr-BE" sz="1800" b="0" i="1" dirty="0" err="1" smtClean="0">
                <a:ea typeface="+mn-ea"/>
                <a:cs typeface="+mn-cs"/>
              </a:rPr>
              <a:t>elements</a:t>
            </a:r>
            <a:r>
              <a:rPr lang="fr-BE" sz="1800" b="0" i="1" dirty="0" smtClean="0">
                <a:ea typeface="+mn-ea"/>
                <a:cs typeface="+mn-cs"/>
              </a:rPr>
              <a:t> </a:t>
            </a:r>
            <a:r>
              <a:rPr lang="fr-BE" sz="1800" b="0" i="1" dirty="0" err="1" smtClean="0">
                <a:ea typeface="+mn-ea"/>
                <a:cs typeface="+mn-cs"/>
              </a:rPr>
              <a:t>needed</a:t>
            </a:r>
            <a:r>
              <a:rPr lang="fr-BE" sz="1800" b="0" i="1" dirty="0" smtClean="0">
                <a:ea typeface="+mn-ea"/>
                <a:cs typeface="+mn-cs"/>
              </a:rPr>
              <a:t> for a </a:t>
            </a:r>
            <a:r>
              <a:rPr lang="fr-BE" sz="1800" b="0" i="1" dirty="0" err="1" smtClean="0">
                <a:ea typeface="+mn-ea"/>
                <a:cs typeface="+mn-cs"/>
              </a:rPr>
              <a:t>sound</a:t>
            </a:r>
            <a:r>
              <a:rPr lang="fr-BE" sz="1800" b="0" i="1" dirty="0" smtClean="0">
                <a:ea typeface="+mn-ea"/>
                <a:cs typeface="+mn-cs"/>
              </a:rPr>
              <a:t> IL (i.e. analyses, etc..)</a:t>
            </a:r>
          </a:p>
          <a:p>
            <a:pPr marL="342900" lvl="1" indent="-342900">
              <a:buClr>
                <a:schemeClr val="tx1"/>
              </a:buClr>
            </a:pPr>
            <a:r>
              <a:rPr lang="fr-BE" sz="1800" b="0" i="1" dirty="0" smtClean="0">
                <a:ea typeface="+mn-ea"/>
                <a:cs typeface="+mn-cs"/>
              </a:rPr>
              <a:t>The </a:t>
            </a:r>
            <a:r>
              <a:rPr lang="fr-BE" sz="1800" i="1" dirty="0" err="1">
                <a:ea typeface="+mn-ea"/>
                <a:cs typeface="+mn-cs"/>
              </a:rPr>
              <a:t>Logical</a:t>
            </a:r>
            <a:r>
              <a:rPr lang="fr-BE" sz="1800" i="1" dirty="0">
                <a:ea typeface="+mn-ea"/>
                <a:cs typeface="+mn-cs"/>
              </a:rPr>
              <a:t> Framework </a:t>
            </a:r>
            <a:r>
              <a:rPr lang="fr-BE" sz="1800" i="1" dirty="0" smtClean="0">
                <a:ea typeface="+mn-ea"/>
                <a:cs typeface="+mn-cs"/>
              </a:rPr>
              <a:t>Matrix </a:t>
            </a:r>
            <a:r>
              <a:rPr lang="fr-BE" sz="1800" b="0" i="1" dirty="0">
                <a:ea typeface="+mn-ea"/>
                <a:cs typeface="+mn-cs"/>
              </a:rPr>
              <a:t>for </a:t>
            </a:r>
            <a:r>
              <a:rPr lang="fr-BE" sz="1800" b="0" i="1" dirty="0" err="1" smtClean="0">
                <a:ea typeface="+mn-ea"/>
                <a:cs typeface="+mn-cs"/>
              </a:rPr>
              <a:t>project</a:t>
            </a:r>
            <a:r>
              <a:rPr lang="fr-BE" sz="1800" b="0" i="1" dirty="0" smtClean="0">
                <a:ea typeface="+mn-ea"/>
                <a:cs typeface="+mn-cs"/>
              </a:rPr>
              <a:t> </a:t>
            </a:r>
            <a:r>
              <a:rPr lang="fr-BE" sz="1800" b="0" i="1" dirty="0" err="1">
                <a:ea typeface="+mn-ea"/>
                <a:cs typeface="+mn-cs"/>
              </a:rPr>
              <a:t>modality</a:t>
            </a:r>
            <a:r>
              <a:rPr lang="fr-BE" sz="1800" b="0" i="1" dirty="0">
                <a:ea typeface="+mn-ea"/>
                <a:cs typeface="+mn-cs"/>
              </a:rPr>
              <a:t> </a:t>
            </a:r>
            <a:r>
              <a:rPr lang="fr-BE" sz="1800" b="0" i="1" dirty="0" smtClean="0">
                <a:ea typeface="+mn-ea"/>
                <a:cs typeface="+mn-cs"/>
              </a:rPr>
              <a:t>(or </a:t>
            </a:r>
            <a:r>
              <a:rPr lang="fr-BE" sz="1800" b="0" i="1" dirty="0">
                <a:ea typeface="+mn-ea"/>
                <a:cs typeface="+mn-cs"/>
              </a:rPr>
              <a:t>the indicative </a:t>
            </a:r>
            <a:r>
              <a:rPr lang="fr-BE" sz="1800" b="0" i="1" dirty="0" err="1">
                <a:ea typeface="+mn-ea"/>
                <a:cs typeface="+mn-cs"/>
              </a:rPr>
              <a:t>list</a:t>
            </a:r>
            <a:r>
              <a:rPr lang="fr-BE" sz="1800" b="0" i="1" dirty="0">
                <a:ea typeface="+mn-ea"/>
                <a:cs typeface="+mn-cs"/>
              </a:rPr>
              <a:t> of </a:t>
            </a:r>
            <a:r>
              <a:rPr lang="fr-BE" sz="1800" b="0" i="1" dirty="0" err="1" smtClean="0">
                <a:ea typeface="+mn-ea"/>
                <a:cs typeface="+mn-cs"/>
              </a:rPr>
              <a:t>result</a:t>
            </a:r>
            <a:r>
              <a:rPr lang="fr-BE" sz="1800" b="0" i="1" dirty="0" smtClean="0">
                <a:ea typeface="+mn-ea"/>
                <a:cs typeface="+mn-cs"/>
              </a:rPr>
              <a:t> </a:t>
            </a:r>
            <a:r>
              <a:rPr lang="fr-BE" sz="1800" b="0" i="1" dirty="0" err="1" smtClean="0">
                <a:ea typeface="+mn-ea"/>
                <a:cs typeface="+mn-cs"/>
              </a:rPr>
              <a:t>indicators</a:t>
            </a:r>
            <a:r>
              <a:rPr lang="fr-BE" sz="1800" b="0" i="1" dirty="0" smtClean="0">
                <a:ea typeface="+mn-ea"/>
                <a:cs typeface="+mn-cs"/>
              </a:rPr>
              <a:t> for Budget Support) </a:t>
            </a:r>
            <a:endParaRPr lang="fr-BE" sz="1800" b="0" i="1" dirty="0">
              <a:ea typeface="+mn-ea"/>
              <a:cs typeface="+mn-cs"/>
            </a:endParaRPr>
          </a:p>
          <a:p>
            <a:pPr marL="342900" lvl="1" indent="-342900">
              <a:buClr>
                <a:schemeClr val="tx1"/>
              </a:buClr>
            </a:pPr>
            <a:r>
              <a:rPr lang="fr-BE" sz="1800" b="0" i="1" dirty="0">
                <a:ea typeface="+mn-ea"/>
                <a:cs typeface="+mn-cs"/>
              </a:rPr>
              <a:t>The </a:t>
            </a:r>
            <a:r>
              <a:rPr lang="fr-BE" sz="1800" i="1" dirty="0">
                <a:ea typeface="+mn-ea"/>
                <a:cs typeface="+mn-cs"/>
              </a:rPr>
              <a:t>Intervention </a:t>
            </a:r>
            <a:r>
              <a:rPr lang="fr-BE" sz="1800" i="1" dirty="0" err="1">
                <a:ea typeface="+mn-ea"/>
                <a:cs typeface="+mn-cs"/>
              </a:rPr>
              <a:t>Logic</a:t>
            </a:r>
            <a:r>
              <a:rPr lang="fr-BE" sz="1800" i="1" dirty="0">
                <a:ea typeface="+mn-ea"/>
                <a:cs typeface="+mn-cs"/>
              </a:rPr>
              <a:t> </a:t>
            </a:r>
            <a:r>
              <a:rPr lang="fr-BE" sz="1800" b="0" i="1" dirty="0" err="1">
                <a:ea typeface="+mn-ea"/>
                <a:cs typeface="+mn-cs"/>
              </a:rPr>
              <a:t>summarized</a:t>
            </a:r>
            <a:r>
              <a:rPr lang="fr-BE" sz="1800" b="0" i="1" dirty="0">
                <a:ea typeface="+mn-ea"/>
                <a:cs typeface="+mn-cs"/>
              </a:rPr>
              <a:t> in a short narrative 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3772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835E6113-B5F6-415A-B858-28ED504D3FAD}" type="slidenum">
              <a:rPr lang="en-GB" smtClean="0">
                <a:latin typeface="Arial" pitchFamily="34" charset="0"/>
              </a:rPr>
              <a:pPr/>
              <a:t>17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052513"/>
            <a:ext cx="9144000" cy="936625"/>
          </a:xfrm>
        </p:spPr>
        <p:txBody>
          <a:bodyPr/>
          <a:lstStyle/>
          <a:p>
            <a:pPr indent="0" algn="ctr" eaLnBrk="1" hangingPunct="1"/>
            <a:r>
              <a:rPr lang="fr-FR" smtClean="0"/>
              <a:t>Key messages</a:t>
            </a:r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23850" y="2060575"/>
            <a:ext cx="8294688" cy="420052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0F5494"/>
              </a:buClr>
            </a:pPr>
            <a:r>
              <a:rPr lang="sv-SE" sz="2000" i="0" dirty="0" smtClean="0"/>
              <a:t>The LFA is DEVCO’s chosen method for project planning and management: this method combines a critical thinking process (Intervention Logic - IL) and tool: the Logical Framework Matrix – LFM)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F5494"/>
              </a:buClr>
            </a:pPr>
            <a:r>
              <a:rPr lang="sv-SE" sz="2000" i="0" dirty="0" smtClean="0"/>
              <a:t>A </a:t>
            </a:r>
            <a:r>
              <a:rPr lang="sv-SE" sz="2000" i="0" dirty="0" smtClean="0">
                <a:solidFill>
                  <a:srgbClr val="009900"/>
                </a:solidFill>
              </a:rPr>
              <a:t>robust</a:t>
            </a:r>
            <a:r>
              <a:rPr lang="sv-SE" sz="2000" i="0" dirty="0" smtClean="0"/>
              <a:t> LFA can identify possible pitfalls, help to avoid failures and allow corrective measures to be taken in a timely manner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F5494"/>
              </a:buClr>
            </a:pPr>
            <a:r>
              <a:rPr lang="sv-SE" sz="2000" i="0" dirty="0" smtClean="0"/>
              <a:t>The LFA (IL and LFM) are flexible (not a straight jacket)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F5494"/>
              </a:buClr>
            </a:pPr>
            <a:r>
              <a:rPr lang="sv-SE" sz="2000" i="0" dirty="0" smtClean="0"/>
              <a:t>The LFA can be challenging (it deals with the real complex world, it requires thinking outside of the box etc.) but it can be very rewarding.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F5494"/>
              </a:buClr>
            </a:pPr>
            <a:endParaRPr lang="sv-SE" sz="2000" i="0" dirty="0" smtClean="0"/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F5494"/>
              </a:buClr>
            </a:pPr>
            <a:endParaRPr lang="sv-SE" sz="2000" i="0" dirty="0" smtClean="0"/>
          </a:p>
        </p:txBody>
      </p:sp>
    </p:spTree>
    <p:extLst>
      <p:ext uri="{BB962C8B-B14F-4D97-AF65-F5344CB8AC3E}">
        <p14:creationId xmlns:p14="http://schemas.microsoft.com/office/powerpoint/2010/main" val="11696947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B604B2CE-5476-489E-B7BD-9E2678F7C8AF}" type="slidenum">
              <a:rPr lang="en-GB" smtClean="0">
                <a:solidFill>
                  <a:schemeClr val="tx1"/>
                </a:solidFill>
                <a:latin typeface="Arial" pitchFamily="34" charset="0"/>
              </a:rPr>
              <a:pPr/>
              <a:t>2</a:t>
            </a:fld>
            <a:endParaRPr lang="en-GB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099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0" y="2571750"/>
            <a:ext cx="9144000" cy="790575"/>
          </a:xfrm>
        </p:spPr>
        <p:txBody>
          <a:bodyPr/>
          <a:lstStyle/>
          <a:p>
            <a:pPr marL="0" indent="0" algn="ctr" eaLnBrk="1" hangingPunct="1"/>
            <a:r>
              <a:rPr lang="fr-BE" sz="7000" dirty="0" smtClean="0">
                <a:solidFill>
                  <a:srgbClr val="F3D23F"/>
                </a:solidFill>
              </a:rPr>
              <a:t>Session 1</a:t>
            </a:r>
            <a:endParaRPr lang="en-GB" sz="7000" dirty="0" smtClean="0">
              <a:solidFill>
                <a:srgbClr val="F3D23F"/>
              </a:solidFill>
            </a:endParaRPr>
          </a:p>
        </p:txBody>
      </p:sp>
      <p:sp>
        <p:nvSpPr>
          <p:cNvPr id="4100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0" y="3722688"/>
            <a:ext cx="9144000" cy="1728787"/>
          </a:xfrm>
        </p:spPr>
        <p:txBody>
          <a:bodyPr/>
          <a:lstStyle/>
          <a:p>
            <a:pPr algn="ctr" eaLnBrk="1" hangingPunct="1"/>
            <a:r>
              <a:rPr lang="fr-FR" sz="3600" dirty="0" smtClean="0"/>
              <a:t>Introduction </a:t>
            </a:r>
            <a:endParaRPr lang="en-GB" sz="3600" dirty="0" smtClean="0"/>
          </a:p>
        </p:txBody>
      </p:sp>
    </p:spTree>
    <p:extLst>
      <p:ext uri="{BB962C8B-B14F-4D97-AF65-F5344CB8AC3E}">
        <p14:creationId xmlns:p14="http://schemas.microsoft.com/office/powerpoint/2010/main" val="423892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052736"/>
            <a:ext cx="8229600" cy="936625"/>
          </a:xfrm>
        </p:spPr>
        <p:txBody>
          <a:bodyPr/>
          <a:lstStyle/>
          <a:p>
            <a:r>
              <a:rPr lang="fr-BE" dirty="0" smtClean="0"/>
              <a:t>Objectives of the train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2060848"/>
            <a:ext cx="8964488" cy="4104456"/>
          </a:xfrm>
        </p:spPr>
        <p:txBody>
          <a:bodyPr/>
          <a:lstStyle/>
          <a:p>
            <a:pPr>
              <a:buClr>
                <a:schemeClr val="tx1"/>
              </a:buClr>
            </a:pPr>
            <a:r>
              <a:rPr lang="en-US" sz="1600" dirty="0"/>
              <a:t>Understand key methodological principles </a:t>
            </a:r>
            <a:r>
              <a:rPr lang="en-US" sz="1600" dirty="0" smtClean="0"/>
              <a:t>for planning and managing projects and </a:t>
            </a:r>
            <a:r>
              <a:rPr lang="en-US" sz="1600" dirty="0" err="1" smtClean="0"/>
              <a:t>programmes</a:t>
            </a:r>
            <a:r>
              <a:rPr lang="en-US" sz="1600" dirty="0" smtClean="0"/>
              <a:t> (Logical </a:t>
            </a:r>
            <a:r>
              <a:rPr lang="en-US" sz="1600" dirty="0"/>
              <a:t>Framework Approach/LFA, </a:t>
            </a:r>
            <a:r>
              <a:rPr lang="en-US" sz="1600" dirty="0" smtClean="0"/>
              <a:t>Logical Framework Matrix/LFM</a:t>
            </a:r>
            <a:r>
              <a:rPr lang="en-US" sz="1600" dirty="0"/>
              <a:t>, Intervention </a:t>
            </a:r>
            <a:r>
              <a:rPr lang="en-US" sz="1600" dirty="0" smtClean="0"/>
              <a:t>Logic/IL, Theory </a:t>
            </a:r>
            <a:r>
              <a:rPr lang="en-US" sz="1600" dirty="0"/>
              <a:t>of Change…) </a:t>
            </a:r>
            <a:r>
              <a:rPr lang="en-US" sz="1600" dirty="0" smtClean="0"/>
              <a:t>common to both aid modalities</a:t>
            </a:r>
            <a:endParaRPr lang="en-GB" sz="1600" dirty="0"/>
          </a:p>
          <a:p>
            <a:pPr>
              <a:buClr>
                <a:schemeClr val="tx1"/>
              </a:buClr>
            </a:pPr>
            <a:r>
              <a:rPr lang="en-US" sz="1600" dirty="0" smtClean="0"/>
              <a:t>Have </a:t>
            </a:r>
            <a:r>
              <a:rPr lang="en-US" sz="1600" dirty="0"/>
              <a:t>a practical understanding of how to develop a </a:t>
            </a:r>
            <a:r>
              <a:rPr lang="en-US" sz="1600" dirty="0" smtClean="0"/>
              <a:t>useful, robust </a:t>
            </a:r>
            <a:r>
              <a:rPr lang="en-US" sz="1600" dirty="0"/>
              <a:t>Intervention Logic</a:t>
            </a:r>
            <a:endParaRPr lang="en-GB" sz="1600" dirty="0"/>
          </a:p>
          <a:p>
            <a:pPr>
              <a:buClr>
                <a:schemeClr val="tx1"/>
              </a:buClr>
            </a:pPr>
            <a:r>
              <a:rPr lang="en-US" sz="1600" dirty="0"/>
              <a:t>Have made practical use of LFA-related tools</a:t>
            </a:r>
            <a:endParaRPr lang="en-GB" sz="1600" dirty="0"/>
          </a:p>
          <a:p>
            <a:pPr>
              <a:buClr>
                <a:schemeClr val="tx1"/>
              </a:buClr>
            </a:pPr>
            <a:r>
              <a:rPr lang="en-US" sz="1600" dirty="0"/>
              <a:t>Understand the strengths and limitations of a Logframe </a:t>
            </a:r>
            <a:r>
              <a:rPr lang="en-US" sz="1600" dirty="0" smtClean="0"/>
              <a:t>Matrix and IL</a:t>
            </a:r>
            <a:endParaRPr lang="en-GB" sz="1600" dirty="0"/>
          </a:p>
          <a:p>
            <a:pPr>
              <a:buClr>
                <a:schemeClr val="tx1"/>
              </a:buClr>
            </a:pPr>
            <a:r>
              <a:rPr lang="en-US" sz="1600" dirty="0"/>
              <a:t>Have a practical understanding of the purpose and use of indicators</a:t>
            </a:r>
            <a:endParaRPr lang="en-GB" sz="1600" dirty="0"/>
          </a:p>
          <a:p>
            <a:pPr>
              <a:buClr>
                <a:schemeClr val="tx1"/>
              </a:buClr>
            </a:pPr>
            <a:r>
              <a:rPr lang="en-US" sz="1600" dirty="0"/>
              <a:t>Have a clear understanding of the operational uses of different management tools </a:t>
            </a:r>
            <a:endParaRPr lang="en-GB" sz="1600" dirty="0"/>
          </a:p>
          <a:p>
            <a:pPr>
              <a:buClr>
                <a:schemeClr val="tx1"/>
              </a:buClr>
            </a:pPr>
            <a:r>
              <a:rPr lang="en-US" sz="1600" dirty="0"/>
              <a:t>Be able to link the training content with their work on EU supported actions as well as with some related key documents and management mechanisms (Action Document, the EU Results Framework, </a:t>
            </a:r>
            <a:r>
              <a:rPr lang="en-US" sz="1600" dirty="0" smtClean="0"/>
              <a:t>…)</a:t>
            </a:r>
          </a:p>
          <a:p>
            <a:pPr>
              <a:buClr>
                <a:schemeClr val="tx1"/>
              </a:buClr>
            </a:pPr>
            <a:r>
              <a:rPr lang="en-US" sz="1800" b="1" u="sng" dirty="0"/>
              <a:t>Be able to make informed choices </a:t>
            </a:r>
            <a:r>
              <a:rPr lang="en-US" sz="1800" b="1" u="sng" dirty="0" smtClean="0"/>
              <a:t>to </a:t>
            </a:r>
            <a:r>
              <a:rPr lang="en-US" sz="1800" b="1" u="sng" dirty="0"/>
              <a:t>support </a:t>
            </a:r>
            <a:r>
              <a:rPr lang="en-US" sz="1800" b="1" u="sng" dirty="0" smtClean="0"/>
              <a:t>the changes that  projects and </a:t>
            </a:r>
            <a:r>
              <a:rPr lang="en-US" sz="1800" b="1" u="sng" dirty="0" err="1" smtClean="0"/>
              <a:t>programmes</a:t>
            </a:r>
            <a:r>
              <a:rPr lang="en-US" sz="1800" b="1" u="sng" dirty="0" smtClean="0"/>
              <a:t> seek to bring about</a:t>
            </a:r>
            <a:endParaRPr lang="en-GB" sz="1800" b="1" u="sng" dirty="0"/>
          </a:p>
          <a:p>
            <a:pPr marL="0" indent="0">
              <a:buClr>
                <a:schemeClr val="tx1"/>
              </a:buClr>
              <a:buNone/>
            </a:pPr>
            <a:endParaRPr lang="en-GB" sz="16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315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9"/>
          <p:cNvSpPr txBox="1"/>
          <p:nvPr/>
        </p:nvSpPr>
        <p:spPr>
          <a:xfrm>
            <a:off x="3347864" y="3501008"/>
            <a:ext cx="2376264" cy="1728192"/>
          </a:xfrm>
          <a:prstGeom prst="flowChartMerge">
            <a:avLst/>
          </a:prstGeom>
          <a:solidFill>
            <a:schemeClr val="accent1"/>
          </a:solidFill>
          <a:ln w="38100" cmpd="thinThick"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en-GB"/>
            </a:defPPr>
            <a:lvl1pPr algn="ctr">
              <a:defRPr b="1"/>
            </a:lvl1pPr>
          </a:lstStyle>
          <a:p>
            <a:endParaRPr lang="en-US" dirty="0"/>
          </a:p>
        </p:txBody>
      </p:sp>
      <p:sp>
        <p:nvSpPr>
          <p:cNvPr id="512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A499051F-ECC8-4DD4-AC8D-DF817229A390}" type="slidenum">
              <a:rPr lang="en-GB" smtClean="0">
                <a:latin typeface="Arial" pitchFamily="34" charset="0"/>
              </a:rPr>
              <a:pPr/>
              <a:t>4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052736"/>
            <a:ext cx="9144000" cy="792088"/>
          </a:xfrm>
        </p:spPr>
        <p:txBody>
          <a:bodyPr/>
          <a:lstStyle/>
          <a:p>
            <a:pPr indent="0" algn="ctr" eaLnBrk="1" hangingPunct="1"/>
            <a:r>
              <a:rPr lang="fr-BE" sz="2400" dirty="0" smtClean="0"/>
              <a:t>How </a:t>
            </a:r>
            <a:r>
              <a:rPr lang="fr-BE" sz="2400" dirty="0" err="1" smtClean="0"/>
              <a:t>does</a:t>
            </a:r>
            <a:r>
              <a:rPr lang="fr-BE" sz="2400" dirty="0" smtClean="0"/>
              <a:t> </a:t>
            </a:r>
            <a:r>
              <a:rPr lang="fr-BE" sz="2400" dirty="0" err="1" smtClean="0"/>
              <a:t>this</a:t>
            </a:r>
            <a:r>
              <a:rPr lang="fr-BE" sz="2400" dirty="0" smtClean="0"/>
              <a:t> training fit </a:t>
            </a:r>
            <a:r>
              <a:rPr lang="fr-BE" sz="2400" dirty="0" err="1" smtClean="0"/>
              <a:t>with</a:t>
            </a:r>
            <a:r>
              <a:rPr lang="fr-BE" sz="2400" dirty="0" smtClean="0"/>
              <a:t> </a:t>
            </a:r>
            <a:r>
              <a:rPr lang="fr-BE" sz="2400" dirty="0" err="1" smtClean="0"/>
              <a:t>other</a:t>
            </a:r>
            <a:r>
              <a:rPr lang="fr-BE" sz="2400" dirty="0" smtClean="0"/>
              <a:t> courses?</a:t>
            </a:r>
            <a:endParaRPr lang="en-US" sz="2400" dirty="0" smtClean="0"/>
          </a:p>
        </p:txBody>
      </p:sp>
      <p:sp>
        <p:nvSpPr>
          <p:cNvPr id="3" name="ZoneTexte 2"/>
          <p:cNvSpPr txBox="1"/>
          <p:nvPr/>
        </p:nvSpPr>
        <p:spPr>
          <a:xfrm>
            <a:off x="107504" y="1845008"/>
            <a:ext cx="3816424" cy="1440160"/>
          </a:xfrm>
          <a:prstGeom prst="flowChartAlternateProcess">
            <a:avLst/>
          </a:prstGeom>
          <a:solidFill>
            <a:schemeClr val="accent1"/>
          </a:solidFill>
          <a:ln w="38100" cmpd="thinThick"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en-GB"/>
            </a:defPPr>
            <a:lvl1pPr algn="ctr">
              <a:defRPr b="1"/>
            </a:lvl1pPr>
          </a:lstStyle>
          <a:p>
            <a:r>
              <a:rPr lang="en-US" sz="1400" dirty="0"/>
              <a:t>UNDERSTANDING THE CONTEXT</a:t>
            </a:r>
          </a:p>
          <a:p>
            <a:endParaRPr lang="en-US" dirty="0"/>
          </a:p>
          <a:p>
            <a:pPr algn="l"/>
            <a:r>
              <a:rPr lang="en-US" sz="1400" dirty="0"/>
              <a:t>Context for development </a:t>
            </a:r>
            <a:r>
              <a:rPr lang="en-US" b="0" dirty="0"/>
              <a:t>(5 days)</a:t>
            </a:r>
            <a:r>
              <a:rPr lang="en-US" dirty="0"/>
              <a:t>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smtClean="0"/>
              <a:t>Stakeholder </a:t>
            </a:r>
            <a:r>
              <a:rPr lang="en-US" dirty="0"/>
              <a:t>analysis </a:t>
            </a:r>
            <a:r>
              <a:rPr lang="en-US" b="0" dirty="0" smtClean="0"/>
              <a:t>(2 </a:t>
            </a:r>
            <a:r>
              <a:rPr lang="en-US" b="0" dirty="0"/>
              <a:t>day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Public </a:t>
            </a:r>
            <a:r>
              <a:rPr lang="en-US" dirty="0" smtClean="0"/>
              <a:t>policy analysis </a:t>
            </a:r>
            <a:r>
              <a:rPr lang="en-US" b="0" dirty="0"/>
              <a:t>(2 days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Fragility and </a:t>
            </a:r>
            <a:r>
              <a:rPr lang="en-US" dirty="0" smtClean="0"/>
              <a:t>conflict sensitivity </a:t>
            </a:r>
            <a:r>
              <a:rPr lang="en-US" b="0" dirty="0"/>
              <a:t>(1 day</a:t>
            </a:r>
            <a:r>
              <a:rPr lang="en-US" b="0" dirty="0" smtClean="0"/>
              <a:t>)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788024" y="1845008"/>
            <a:ext cx="4176464" cy="1439976"/>
          </a:xfrm>
          <a:prstGeom prst="flowChartAlternateProcess">
            <a:avLst/>
          </a:prstGeom>
          <a:solidFill>
            <a:schemeClr val="accent1"/>
          </a:solidFill>
          <a:ln w="38100" cmpd="thinThick"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 dirty="0" smtClean="0"/>
              <a:t>PLANNING &amp; IMPLEMENTING ACTIONS</a:t>
            </a:r>
          </a:p>
          <a:p>
            <a:endParaRPr lang="en-US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 smtClean="0"/>
              <a:t>Logical </a:t>
            </a:r>
            <a:r>
              <a:rPr lang="en-US" b="1" dirty="0"/>
              <a:t>Framework Approach and  Indicators </a:t>
            </a:r>
            <a:r>
              <a:rPr lang="en-US" dirty="0"/>
              <a:t>(4 days) </a:t>
            </a:r>
            <a:endParaRPr lang="en-US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 smtClean="0"/>
              <a:t>Policy dialogue </a:t>
            </a:r>
            <a:r>
              <a:rPr lang="en-US" dirty="0" smtClean="0"/>
              <a:t>(4 day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 smtClean="0"/>
              <a:t>Capacity development</a:t>
            </a:r>
            <a:r>
              <a:rPr lang="en-US" dirty="0" smtClean="0"/>
              <a:t> (2 day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 smtClean="0"/>
              <a:t>Monitoring</a:t>
            </a:r>
            <a:r>
              <a:rPr lang="en-US" dirty="0" smtClean="0"/>
              <a:t> (2 days)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627784" y="5301392"/>
            <a:ext cx="3816000" cy="1511984"/>
          </a:xfrm>
          <a:prstGeom prst="flowChartAlternateProcess">
            <a:avLst/>
          </a:prstGeom>
          <a:solidFill>
            <a:schemeClr val="accent1"/>
          </a:solidFill>
          <a:ln w="38100" cmpd="thinThick"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en-GB"/>
            </a:defPPr>
            <a:lvl1pPr algn="ctr">
              <a:defRPr b="1"/>
            </a:lvl1pPr>
          </a:lstStyle>
          <a:p>
            <a:endParaRPr lang="en-US" dirty="0" smtClean="0"/>
          </a:p>
          <a:p>
            <a:r>
              <a:rPr lang="en-US" dirty="0" smtClean="0"/>
              <a:t>LEARNING </a:t>
            </a:r>
            <a:r>
              <a:rPr lang="en-US" dirty="0"/>
              <a:t>FROM </a:t>
            </a:r>
            <a:r>
              <a:rPr lang="en-US" dirty="0" smtClean="0"/>
              <a:t>EXPERIENCE</a:t>
            </a:r>
            <a:endParaRPr lang="en-US" dirty="0"/>
          </a:p>
          <a:p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Evaluation</a:t>
            </a:r>
            <a:r>
              <a:rPr lang="en-US" b="0" dirty="0"/>
              <a:t> (3 days)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Capacity4Dev</a:t>
            </a:r>
            <a:r>
              <a:rPr lang="en-US" b="0" dirty="0"/>
              <a:t> platform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smtClean="0"/>
              <a:t>E-learning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890711" y="3645024"/>
            <a:ext cx="3456384" cy="1368152"/>
          </a:xfrm>
          <a:prstGeom prst="flowChartAlternateProcess">
            <a:avLst/>
          </a:prstGeom>
          <a:solidFill>
            <a:schemeClr val="accent1"/>
          </a:solidFill>
          <a:ln w="38100" cmpd="thinThick">
            <a:noFill/>
          </a:ln>
        </p:spPr>
        <p:txBody>
          <a:bodyPr wrap="square" lIns="0" tIns="0" rIns="0" bIns="0" rtlCol="0">
            <a:noAutofit/>
          </a:bodyPr>
          <a:lstStyle>
            <a:defPPr>
              <a:defRPr lang="en-GB"/>
            </a:defPPr>
            <a:lvl1pPr algn="ctr">
              <a:defRPr b="1"/>
            </a:lvl1pPr>
          </a:lstStyle>
          <a:p>
            <a:pPr algn="l"/>
            <a:r>
              <a:rPr lang="en-US" dirty="0" smtClean="0"/>
              <a:t>  PROJECT AND PROGRAMME </a:t>
            </a:r>
          </a:p>
          <a:p>
            <a:r>
              <a:rPr lang="en-US" dirty="0" smtClean="0"/>
              <a:t>CYCLE MANAGEMENT </a:t>
            </a:r>
            <a:r>
              <a:rPr lang="en-US" b="0" dirty="0" smtClean="0"/>
              <a:t>(in preparation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smtClean="0"/>
              <a:t>Focus on the phas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smtClean="0"/>
              <a:t>Aid effectivenes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smtClean="0"/>
              <a:t>Cross cutting issues</a:t>
            </a:r>
          </a:p>
          <a:p>
            <a:pPr algn="l"/>
            <a:r>
              <a:rPr lang="en-US" dirty="0" smtClean="0"/>
              <a:t> </a:t>
            </a:r>
            <a:r>
              <a:rPr lang="en-US" b="0" dirty="0" smtClean="0"/>
              <a:t>(2 days)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88718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E1D70926-3C8D-4055-A476-5EA85BB4070C}" type="slidenum">
              <a:rPr lang="en-GB" smtClean="0">
                <a:latin typeface="Arial" pitchFamily="34" charset="0"/>
              </a:rPr>
              <a:pPr/>
              <a:t>5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143000"/>
            <a:ext cx="9144000" cy="1062038"/>
          </a:xfrm>
        </p:spPr>
        <p:txBody>
          <a:bodyPr/>
          <a:lstStyle/>
          <a:p>
            <a:pPr indent="0" algn="ctr" eaLnBrk="1" hangingPunct="1"/>
            <a:r>
              <a:rPr lang="fr-BE" smtClean="0"/>
              <a:t>Methodological references for the course</a:t>
            </a:r>
            <a:endParaRPr lang="fr-FR" smtClean="0"/>
          </a:p>
        </p:txBody>
      </p:sp>
      <p:sp>
        <p:nvSpPr>
          <p:cNvPr id="9220" name="AutoShape 4"/>
          <p:cNvSpPr>
            <a:spLocks noChangeArrowheads="1"/>
          </p:cNvSpPr>
          <p:nvPr/>
        </p:nvSpPr>
        <p:spPr bwMode="auto">
          <a:xfrm rot="-819318">
            <a:off x="7281863" y="5865813"/>
            <a:ext cx="1776412" cy="712787"/>
          </a:xfrm>
          <a:prstGeom prst="foldedCorner">
            <a:avLst>
              <a:gd name="adj" fmla="val 12500"/>
            </a:avLst>
          </a:prstGeom>
          <a:solidFill>
            <a:srgbClr val="FFFF00"/>
          </a:solidFill>
          <a:ln w="9525">
            <a:solidFill>
              <a:srgbClr val="FF9900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b="1">
                <a:solidFill>
                  <a:schemeClr val="accent2"/>
                </a:solidFill>
              </a:rPr>
              <a:t>Downloadable on the Internet and Intranet</a:t>
            </a:r>
            <a:endParaRPr lang="en-GB" b="1">
              <a:solidFill>
                <a:schemeClr val="accent2"/>
              </a:solidFill>
            </a:endParaRPr>
          </a:p>
        </p:txBody>
      </p:sp>
      <p:sp>
        <p:nvSpPr>
          <p:cNvPr id="11269" name="Text Box 5"/>
          <p:cNvSpPr txBox="1">
            <a:spLocks noChangeArrowheads="1"/>
          </p:cNvSpPr>
          <p:nvPr/>
        </p:nvSpPr>
        <p:spPr bwMode="auto">
          <a:xfrm>
            <a:off x="250825" y="2733675"/>
            <a:ext cx="8382000" cy="3110724"/>
          </a:xfrm>
          <a:prstGeom prst="rect">
            <a:avLst/>
          </a:prstGeom>
          <a:noFill/>
          <a:ln>
            <a:noFill/>
          </a:ln>
          <a:extLst/>
        </p:spPr>
        <p:txBody>
          <a:bodyPr lIns="90000" tIns="46800" rIns="90000" bIns="46800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marL="342900" indent="-342900" eaLnBrk="1" hangingPunct="1">
              <a:spcBef>
                <a:spcPct val="20000"/>
              </a:spcBef>
              <a:spcAft>
                <a:spcPts val="1200"/>
              </a:spcAft>
              <a:buClr>
                <a:srgbClr val="0F5494"/>
              </a:buClr>
              <a:buFont typeface="Wingdings" pitchFamily="2" charset="2"/>
              <a:buChar char="§"/>
              <a:defRPr/>
            </a:pPr>
            <a:r>
              <a:rPr lang="fr-BE" sz="2000" dirty="0" smtClean="0">
                <a:latin typeface="+mn-lt"/>
                <a:cs typeface="+mn-cs"/>
              </a:rPr>
              <a:t>Action Document </a:t>
            </a:r>
            <a:r>
              <a:rPr lang="fr-BE" sz="2000" dirty="0" err="1" smtClean="0">
                <a:latin typeface="+mn-lt"/>
                <a:cs typeface="+mn-cs"/>
              </a:rPr>
              <a:t>template</a:t>
            </a:r>
            <a:r>
              <a:rPr lang="fr-BE" sz="2000" dirty="0" smtClean="0">
                <a:latin typeface="+mn-lt"/>
                <a:cs typeface="+mn-cs"/>
              </a:rPr>
              <a:t> and Instructions for AD </a:t>
            </a:r>
            <a:r>
              <a:rPr lang="fr-BE" sz="2000" dirty="0" err="1" smtClean="0">
                <a:latin typeface="+mn-lt"/>
                <a:cs typeface="+mn-cs"/>
              </a:rPr>
              <a:t>template</a:t>
            </a:r>
            <a:r>
              <a:rPr lang="fr-BE" sz="2000" dirty="0" smtClean="0">
                <a:latin typeface="+mn-lt"/>
                <a:cs typeface="+mn-cs"/>
              </a:rPr>
              <a:t> </a:t>
            </a:r>
            <a:r>
              <a:rPr lang="fr-BE" sz="2000" dirty="0" err="1" smtClean="0">
                <a:latin typeface="+mn-lt"/>
                <a:cs typeface="+mn-cs"/>
              </a:rPr>
              <a:t>completion</a:t>
            </a:r>
            <a:endParaRPr lang="fr-BE" sz="2000" dirty="0" smtClean="0">
              <a:latin typeface="+mn-lt"/>
              <a:cs typeface="+mn-cs"/>
            </a:endParaRPr>
          </a:p>
          <a:p>
            <a:pPr marL="342900" indent="-342900" eaLnBrk="1" hangingPunct="1">
              <a:spcBef>
                <a:spcPct val="20000"/>
              </a:spcBef>
              <a:spcAft>
                <a:spcPts val="1200"/>
              </a:spcAft>
              <a:buClr>
                <a:srgbClr val="0F5494"/>
              </a:buClr>
              <a:buFont typeface="Wingdings" pitchFamily="2" charset="2"/>
              <a:buChar char="§"/>
              <a:defRPr/>
            </a:pPr>
            <a:r>
              <a:rPr lang="fr-BE" sz="2000" dirty="0" smtClean="0">
                <a:latin typeface="+mn-lt"/>
                <a:cs typeface="+mn-cs"/>
              </a:rPr>
              <a:t>«</a:t>
            </a:r>
            <a:r>
              <a:rPr lang="fr-BE" sz="2000" dirty="0">
                <a:latin typeface="+mn-lt"/>
                <a:cs typeface="+mn-cs"/>
              </a:rPr>
              <a:t> Guidelines – Project Cycle Management, EUROPEAID </a:t>
            </a:r>
            <a:r>
              <a:rPr lang="fr-BE" sz="2000" dirty="0" smtClean="0">
                <a:latin typeface="+mn-lt"/>
                <a:cs typeface="+mn-cs"/>
              </a:rPr>
              <a:t>»</a:t>
            </a:r>
          </a:p>
          <a:p>
            <a:pPr marL="342900" indent="-342900" eaLnBrk="1" hangingPunct="1">
              <a:spcBef>
                <a:spcPct val="20000"/>
              </a:spcBef>
              <a:spcAft>
                <a:spcPts val="1200"/>
              </a:spcAft>
              <a:buClr>
                <a:srgbClr val="0F5494"/>
              </a:buClr>
              <a:buFont typeface="Wingdings" pitchFamily="2" charset="2"/>
              <a:buChar char="§"/>
              <a:defRPr/>
            </a:pPr>
            <a:r>
              <a:rPr lang="fr-BE" sz="2000" dirty="0"/>
              <a:t>« </a:t>
            </a:r>
            <a:r>
              <a:rPr lang="fr-BE" sz="2000" dirty="0" smtClean="0"/>
              <a:t>Budget Support Guidelines, </a:t>
            </a:r>
            <a:r>
              <a:rPr lang="fr-BE" sz="2000" dirty="0"/>
              <a:t>EUROPEAID »</a:t>
            </a:r>
          </a:p>
          <a:p>
            <a:pPr marL="342900" indent="-342900" eaLnBrk="1" hangingPunct="1">
              <a:spcBef>
                <a:spcPct val="20000"/>
              </a:spcBef>
              <a:spcAft>
                <a:spcPts val="1200"/>
              </a:spcAft>
              <a:buClr>
                <a:srgbClr val="0F5494"/>
              </a:buClr>
              <a:buFont typeface="Wingdings" pitchFamily="2" charset="2"/>
              <a:buChar char="§"/>
              <a:defRPr/>
            </a:pPr>
            <a:r>
              <a:rPr lang="fr-BE" sz="2000" dirty="0" smtClean="0">
                <a:latin typeface="+mn-lt"/>
                <a:cs typeface="+mn-cs"/>
              </a:rPr>
              <a:t>«</a:t>
            </a:r>
            <a:r>
              <a:rPr lang="fr-FR" sz="2000" dirty="0">
                <a:latin typeface="+mn-lt"/>
                <a:cs typeface="+mn-cs"/>
              </a:rPr>
              <a:t> Policy </a:t>
            </a:r>
            <a:r>
              <a:rPr lang="fr-FR" sz="2000" dirty="0" err="1" smtClean="0">
                <a:latin typeface="+mn-lt"/>
                <a:cs typeface="+mn-cs"/>
              </a:rPr>
              <a:t>Steering</a:t>
            </a:r>
            <a:r>
              <a:rPr lang="fr-FR" sz="2000" dirty="0" smtClean="0">
                <a:latin typeface="+mn-lt"/>
                <a:cs typeface="+mn-cs"/>
              </a:rPr>
              <a:t> Note– </a:t>
            </a:r>
            <a:r>
              <a:rPr lang="fr-FR" sz="2000" dirty="0">
                <a:latin typeface="+mn-lt"/>
                <a:cs typeface="+mn-cs"/>
              </a:rPr>
              <a:t>The </a:t>
            </a:r>
            <a:r>
              <a:rPr lang="fr-FR" sz="2000" dirty="0" err="1">
                <a:latin typeface="+mn-lt"/>
                <a:cs typeface="+mn-cs"/>
              </a:rPr>
              <a:t>role</a:t>
            </a:r>
            <a:r>
              <a:rPr lang="fr-FR" sz="2000" dirty="0">
                <a:latin typeface="+mn-lt"/>
                <a:cs typeface="+mn-cs"/>
              </a:rPr>
              <a:t> and use of performance </a:t>
            </a:r>
            <a:r>
              <a:rPr lang="fr-FR" sz="2000" dirty="0" err="1">
                <a:latin typeface="+mn-lt"/>
                <a:cs typeface="+mn-cs"/>
              </a:rPr>
              <a:t>measurement</a:t>
            </a:r>
            <a:r>
              <a:rPr lang="fr-FR" sz="2000" dirty="0">
                <a:latin typeface="+mn-lt"/>
                <a:cs typeface="+mn-cs"/>
              </a:rPr>
              <a:t> </a:t>
            </a:r>
            <a:r>
              <a:rPr lang="fr-FR" sz="2000" dirty="0" err="1">
                <a:latin typeface="+mn-lt"/>
                <a:cs typeface="+mn-cs"/>
              </a:rPr>
              <a:t>indicators</a:t>
            </a:r>
            <a:r>
              <a:rPr lang="fr-FR" sz="2000" dirty="0">
                <a:latin typeface="+mn-lt"/>
                <a:cs typeface="+mn-cs"/>
              </a:rPr>
              <a:t>  », </a:t>
            </a:r>
            <a:r>
              <a:rPr lang="fr-FR" sz="2000" dirty="0" smtClean="0">
                <a:latin typeface="+mn-lt"/>
                <a:cs typeface="+mn-cs"/>
              </a:rPr>
              <a:t>EUROPEAID</a:t>
            </a:r>
          </a:p>
          <a:p>
            <a:pPr marL="342900" indent="-342900" eaLnBrk="1" hangingPunct="1">
              <a:spcBef>
                <a:spcPct val="20000"/>
              </a:spcBef>
              <a:spcAft>
                <a:spcPts val="1200"/>
              </a:spcAft>
              <a:buClr>
                <a:srgbClr val="0F5494"/>
              </a:buClr>
              <a:buFont typeface="Wingdings" pitchFamily="2" charset="2"/>
              <a:buChar char="§"/>
              <a:defRPr/>
            </a:pPr>
            <a:r>
              <a:rPr lang="fr-FR" sz="2000" dirty="0" err="1" smtClean="0">
                <a:latin typeface="+mn-lt"/>
                <a:cs typeface="+mn-cs"/>
              </a:rPr>
              <a:t>Capacity</a:t>
            </a:r>
            <a:r>
              <a:rPr lang="fr-FR" sz="2000" dirty="0" smtClean="0">
                <a:latin typeface="+mn-lt"/>
                <a:cs typeface="+mn-cs"/>
              </a:rPr>
              <a:t> </a:t>
            </a:r>
            <a:r>
              <a:rPr lang="fr-FR" sz="2000" dirty="0" err="1" smtClean="0">
                <a:latin typeface="+mn-lt"/>
                <a:cs typeface="+mn-cs"/>
              </a:rPr>
              <a:t>Development</a:t>
            </a:r>
            <a:r>
              <a:rPr lang="fr-FR" sz="2000" dirty="0" smtClean="0">
                <a:latin typeface="+mn-lt"/>
                <a:cs typeface="+mn-cs"/>
              </a:rPr>
              <a:t> </a:t>
            </a:r>
            <a:r>
              <a:rPr lang="fr-FR" sz="2000" dirty="0" err="1" smtClean="0">
                <a:latin typeface="+mn-lt"/>
                <a:cs typeface="+mn-cs"/>
              </a:rPr>
              <a:t>Toolkit</a:t>
            </a:r>
            <a:endParaRPr lang="fr-FR" sz="20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6316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19"/>
          <p:cNvSpPr>
            <a:spLocks noChangeArrowheads="1"/>
          </p:cNvSpPr>
          <p:nvPr/>
        </p:nvSpPr>
        <p:spPr bwMode="auto">
          <a:xfrm>
            <a:off x="252253" y="1360488"/>
            <a:ext cx="2055772" cy="684151"/>
          </a:xfrm>
          <a:prstGeom prst="homePlate">
            <a:avLst>
              <a:gd name="adj" fmla="val 54607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190500" algn="ctr" eaLnBrk="0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Day 1</a:t>
            </a:r>
          </a:p>
        </p:txBody>
      </p:sp>
      <p:sp>
        <p:nvSpPr>
          <p:cNvPr id="34829" name="Rectangle 22"/>
          <p:cNvSpPr>
            <a:spLocks noChangeArrowheads="1"/>
          </p:cNvSpPr>
          <p:nvPr/>
        </p:nvSpPr>
        <p:spPr bwMode="auto">
          <a:xfrm>
            <a:off x="323528" y="2436346"/>
            <a:ext cx="197949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GB" altLang="fr-FR" sz="1400" i="1" dirty="0" smtClean="0">
                <a:solidFill>
                  <a:srgbClr val="000000"/>
                </a:solidFill>
              </a:rPr>
              <a:t>Introduction to the L</a:t>
            </a:r>
            <a:r>
              <a:rPr lang="en-US" altLang="fr-FR" sz="1400" i="1" dirty="0" err="1" smtClean="0">
                <a:solidFill>
                  <a:srgbClr val="000000"/>
                </a:solidFill>
              </a:rPr>
              <a:t>ogical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 </a:t>
            </a:r>
            <a:r>
              <a:rPr lang="en-US" altLang="fr-FR" sz="1400" i="1" dirty="0">
                <a:solidFill>
                  <a:srgbClr val="000000"/>
                </a:solidFill>
              </a:rPr>
              <a:t>Framework 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Approach  </a:t>
            </a:r>
            <a:r>
              <a:rPr lang="en-US" altLang="fr-FR" sz="1400" i="1" dirty="0">
                <a:solidFill>
                  <a:srgbClr val="000000"/>
                </a:solidFill>
              </a:rPr>
              <a:t>and the cycle of development 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actions</a:t>
            </a:r>
          </a:p>
        </p:txBody>
      </p:sp>
      <p:sp>
        <p:nvSpPr>
          <p:cNvPr id="34830" name="Oval 28"/>
          <p:cNvSpPr>
            <a:spLocks noChangeArrowheads="1"/>
          </p:cNvSpPr>
          <p:nvPr/>
        </p:nvSpPr>
        <p:spPr bwMode="auto">
          <a:xfrm>
            <a:off x="107505" y="2424797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1</a:t>
            </a:r>
          </a:p>
        </p:txBody>
      </p:sp>
      <p:sp>
        <p:nvSpPr>
          <p:cNvPr id="34832" name="Oval 28"/>
          <p:cNvSpPr>
            <a:spLocks noChangeArrowheads="1"/>
          </p:cNvSpPr>
          <p:nvPr/>
        </p:nvSpPr>
        <p:spPr bwMode="auto">
          <a:xfrm>
            <a:off x="108200" y="3488879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 dirty="0">
                <a:solidFill>
                  <a:srgbClr val="FFFFFF"/>
                </a:solidFill>
              </a:rPr>
              <a:t>S2</a:t>
            </a:r>
          </a:p>
        </p:txBody>
      </p:sp>
      <p:sp>
        <p:nvSpPr>
          <p:cNvPr id="34834" name="Oval 28"/>
          <p:cNvSpPr>
            <a:spLocks noChangeArrowheads="1"/>
          </p:cNvSpPr>
          <p:nvPr/>
        </p:nvSpPr>
        <p:spPr bwMode="auto">
          <a:xfrm>
            <a:off x="108200" y="4537966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3</a:t>
            </a:r>
          </a:p>
        </p:txBody>
      </p:sp>
      <p:sp>
        <p:nvSpPr>
          <p:cNvPr id="34835" name="Rectangle 22"/>
          <p:cNvSpPr>
            <a:spLocks noChangeArrowheads="1"/>
          </p:cNvSpPr>
          <p:nvPr/>
        </p:nvSpPr>
        <p:spPr bwMode="auto">
          <a:xfrm>
            <a:off x="456459" y="4613745"/>
            <a:ext cx="173162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Linking analyses and change process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4836" name="Oval 28"/>
          <p:cNvSpPr>
            <a:spLocks noChangeArrowheads="1"/>
          </p:cNvSpPr>
          <p:nvPr/>
        </p:nvSpPr>
        <p:spPr bwMode="auto">
          <a:xfrm>
            <a:off x="108895" y="5623075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4</a:t>
            </a:r>
          </a:p>
        </p:txBody>
      </p:sp>
      <p:sp>
        <p:nvSpPr>
          <p:cNvPr id="34837" name="Rectangle 22"/>
          <p:cNvSpPr>
            <a:spLocks noChangeArrowheads="1"/>
          </p:cNvSpPr>
          <p:nvPr/>
        </p:nvSpPr>
        <p:spPr bwMode="auto">
          <a:xfrm>
            <a:off x="2766946" y="4549515"/>
            <a:ext cx="182006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Developing a Logical Framework Matrix (LFM)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4838" name="Oval 28"/>
          <p:cNvSpPr>
            <a:spLocks noChangeArrowheads="1"/>
          </p:cNvSpPr>
          <p:nvPr/>
        </p:nvSpPr>
        <p:spPr bwMode="auto">
          <a:xfrm>
            <a:off x="2411760" y="2424797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5</a:t>
            </a:r>
          </a:p>
        </p:txBody>
      </p:sp>
      <p:sp>
        <p:nvSpPr>
          <p:cNvPr id="34840" name="Oval 28"/>
          <p:cNvSpPr>
            <a:spLocks noChangeArrowheads="1"/>
          </p:cNvSpPr>
          <p:nvPr/>
        </p:nvSpPr>
        <p:spPr bwMode="auto">
          <a:xfrm>
            <a:off x="2411760" y="3423727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6</a:t>
            </a:r>
          </a:p>
        </p:txBody>
      </p:sp>
      <p:sp>
        <p:nvSpPr>
          <p:cNvPr id="34841" name="Rectangle 22"/>
          <p:cNvSpPr>
            <a:spLocks noChangeArrowheads="1"/>
          </p:cNvSpPr>
          <p:nvPr/>
        </p:nvSpPr>
        <p:spPr bwMode="auto">
          <a:xfrm>
            <a:off x="2766946" y="2471868"/>
            <a:ext cx="171500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Building an Intervention Logic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4842" name="Oval 28"/>
          <p:cNvSpPr>
            <a:spLocks noChangeArrowheads="1"/>
          </p:cNvSpPr>
          <p:nvPr/>
        </p:nvSpPr>
        <p:spPr bwMode="auto">
          <a:xfrm>
            <a:off x="2412455" y="4537966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7</a:t>
            </a:r>
          </a:p>
        </p:txBody>
      </p:sp>
      <p:sp>
        <p:nvSpPr>
          <p:cNvPr id="34844" name="Oval 46"/>
          <p:cNvSpPr>
            <a:spLocks noChangeArrowheads="1"/>
          </p:cNvSpPr>
          <p:nvPr/>
        </p:nvSpPr>
        <p:spPr bwMode="auto">
          <a:xfrm>
            <a:off x="2413150" y="5623075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8</a:t>
            </a:r>
          </a:p>
        </p:txBody>
      </p:sp>
      <p:sp>
        <p:nvSpPr>
          <p:cNvPr id="34845" name="Rectangle 22"/>
          <p:cNvSpPr>
            <a:spLocks noChangeArrowheads="1"/>
          </p:cNvSpPr>
          <p:nvPr/>
        </p:nvSpPr>
        <p:spPr bwMode="auto">
          <a:xfrm>
            <a:off x="5045982" y="2436346"/>
            <a:ext cx="171494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Recap on the LFM and IL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4846" name="Oval 28"/>
          <p:cNvSpPr>
            <a:spLocks noChangeArrowheads="1"/>
          </p:cNvSpPr>
          <p:nvPr/>
        </p:nvSpPr>
        <p:spPr bwMode="auto">
          <a:xfrm>
            <a:off x="4644008" y="2424797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9</a:t>
            </a:r>
          </a:p>
        </p:txBody>
      </p:sp>
      <p:sp>
        <p:nvSpPr>
          <p:cNvPr id="34848" name="Oval 28"/>
          <p:cNvSpPr>
            <a:spLocks noChangeArrowheads="1"/>
          </p:cNvSpPr>
          <p:nvPr/>
        </p:nvSpPr>
        <p:spPr bwMode="auto">
          <a:xfrm>
            <a:off x="4644703" y="3488879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10</a:t>
            </a:r>
          </a:p>
        </p:txBody>
      </p:sp>
      <p:sp>
        <p:nvSpPr>
          <p:cNvPr id="34849" name="Rectangle 22"/>
          <p:cNvSpPr>
            <a:spLocks noChangeArrowheads="1"/>
          </p:cNvSpPr>
          <p:nvPr/>
        </p:nvSpPr>
        <p:spPr bwMode="auto">
          <a:xfrm>
            <a:off x="5054069" y="3462605"/>
            <a:ext cx="159846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Indicators (I): indicators &amp; objectives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4850" name="Oval 28"/>
          <p:cNvSpPr>
            <a:spLocks noChangeArrowheads="1"/>
          </p:cNvSpPr>
          <p:nvPr/>
        </p:nvSpPr>
        <p:spPr bwMode="auto">
          <a:xfrm>
            <a:off x="4644703" y="4537966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11</a:t>
            </a:r>
          </a:p>
        </p:txBody>
      </p:sp>
      <p:sp>
        <p:nvSpPr>
          <p:cNvPr id="34851" name="Rectangle 22"/>
          <p:cNvSpPr>
            <a:spLocks noChangeArrowheads="1"/>
          </p:cNvSpPr>
          <p:nvPr/>
        </p:nvSpPr>
        <p:spPr bwMode="auto">
          <a:xfrm>
            <a:off x="4932040" y="4549515"/>
            <a:ext cx="165472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>
                <a:solidFill>
                  <a:srgbClr val="000000"/>
                </a:solidFill>
              </a:rPr>
              <a:t>Indicators 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(II</a:t>
            </a:r>
            <a:r>
              <a:rPr lang="en-US" altLang="fr-FR" sz="1400" i="1" dirty="0">
                <a:solidFill>
                  <a:srgbClr val="000000"/>
                </a:solidFill>
              </a:rPr>
              <a:t>): 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Sources of verification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4852" name="Oval 55"/>
          <p:cNvSpPr>
            <a:spLocks noChangeArrowheads="1"/>
          </p:cNvSpPr>
          <p:nvPr/>
        </p:nvSpPr>
        <p:spPr bwMode="auto">
          <a:xfrm>
            <a:off x="4645397" y="5623075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>
                <a:solidFill>
                  <a:srgbClr val="FFFFFF"/>
                </a:solidFill>
              </a:rPr>
              <a:t>S12</a:t>
            </a:r>
          </a:p>
        </p:txBody>
      </p:sp>
      <p:sp>
        <p:nvSpPr>
          <p:cNvPr id="57" name="AutoShape 20"/>
          <p:cNvSpPr>
            <a:spLocks noChangeArrowheads="1"/>
          </p:cNvSpPr>
          <p:nvPr/>
        </p:nvSpPr>
        <p:spPr bwMode="auto">
          <a:xfrm>
            <a:off x="2556454" y="1360488"/>
            <a:ext cx="2038184" cy="684151"/>
          </a:xfrm>
          <a:prstGeom prst="chevron">
            <a:avLst>
              <a:gd name="adj" fmla="val 53546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190500" algn="ctr" eaLnBrk="0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Day 2</a:t>
            </a:r>
          </a:p>
        </p:txBody>
      </p:sp>
      <p:sp>
        <p:nvSpPr>
          <p:cNvPr id="58" name="AutoShape 21"/>
          <p:cNvSpPr>
            <a:spLocks noChangeArrowheads="1"/>
          </p:cNvSpPr>
          <p:nvPr/>
        </p:nvSpPr>
        <p:spPr bwMode="auto">
          <a:xfrm>
            <a:off x="4670721" y="1376066"/>
            <a:ext cx="2038185" cy="684151"/>
          </a:xfrm>
          <a:prstGeom prst="chevron">
            <a:avLst>
              <a:gd name="adj" fmla="val 53546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190500" algn="ctr" eaLnBrk="0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Day 3</a:t>
            </a:r>
          </a:p>
        </p:txBody>
      </p:sp>
      <p:grpSp>
        <p:nvGrpSpPr>
          <p:cNvPr id="34819" name="Group 31"/>
          <p:cNvGrpSpPr>
            <a:grpSpLocks/>
          </p:cNvGrpSpPr>
          <p:nvPr/>
        </p:nvGrpSpPr>
        <p:grpSpPr bwMode="auto">
          <a:xfrm>
            <a:off x="1124086" y="6515101"/>
            <a:ext cx="1223962" cy="309562"/>
            <a:chOff x="2718979" y="980724"/>
            <a:chExt cx="1598925" cy="454025"/>
          </a:xfrm>
        </p:grpSpPr>
        <p:sp>
          <p:nvSpPr>
            <p:cNvPr id="34824" name="Oval 28"/>
            <p:cNvSpPr>
              <a:spLocks noChangeArrowheads="1"/>
            </p:cNvSpPr>
            <p:nvPr/>
          </p:nvSpPr>
          <p:spPr bwMode="auto">
            <a:xfrm>
              <a:off x="2718979" y="980724"/>
              <a:ext cx="440033" cy="454025"/>
            </a:xfrm>
            <a:prstGeom prst="ellipse">
              <a:avLst/>
            </a:prstGeom>
            <a:solidFill>
              <a:srgbClr val="A50021"/>
            </a:solidFill>
            <a:ln w="12700" algn="ctr">
              <a:solidFill>
                <a:srgbClr val="7D09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>
                <a:spcBef>
                  <a:spcPct val="50000"/>
                </a:spcBef>
              </a:pPr>
              <a:r>
                <a:rPr lang="en-US" altLang="fr-FR" sz="1600" dirty="0">
                  <a:solidFill>
                    <a:srgbClr val="FFFFFF"/>
                  </a:solidFill>
                </a:rPr>
                <a:t>S </a:t>
              </a:r>
            </a:p>
          </p:txBody>
        </p:sp>
        <p:sp>
          <p:nvSpPr>
            <p:cNvPr id="34825" name="TextBox 30"/>
            <p:cNvSpPr txBox="1">
              <a:spLocks noChangeArrowheads="1"/>
            </p:cNvSpPr>
            <p:nvPr/>
          </p:nvSpPr>
          <p:spPr bwMode="auto">
            <a:xfrm>
              <a:off x="3295716" y="1029070"/>
              <a:ext cx="1022188" cy="4056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fr-FR" dirty="0"/>
                <a:t>number</a:t>
              </a:r>
            </a:p>
          </p:txBody>
        </p:sp>
      </p:grpSp>
      <p:sp>
        <p:nvSpPr>
          <p:cNvPr id="34820" name="Rounded Rectangle 33"/>
          <p:cNvSpPr>
            <a:spLocks noChangeArrowheads="1"/>
          </p:cNvSpPr>
          <p:nvPr/>
        </p:nvSpPr>
        <p:spPr bwMode="auto">
          <a:xfrm>
            <a:off x="107504" y="2133600"/>
            <a:ext cx="2200521" cy="431958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F549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endParaRPr lang="fr-BE" altLang="fr-FR" sz="1200">
              <a:solidFill>
                <a:srgbClr val="0F5494"/>
              </a:solidFill>
              <a:latin typeface="Verdana" pitchFamily="34" charset="0"/>
            </a:endParaRPr>
          </a:p>
        </p:txBody>
      </p:sp>
      <p:sp>
        <p:nvSpPr>
          <p:cNvPr id="34821" name="Rounded Rectangle 34"/>
          <p:cNvSpPr>
            <a:spLocks noChangeArrowheads="1"/>
          </p:cNvSpPr>
          <p:nvPr/>
        </p:nvSpPr>
        <p:spPr bwMode="auto">
          <a:xfrm>
            <a:off x="2412452" y="2133600"/>
            <a:ext cx="2174562" cy="431958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F549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endParaRPr lang="fr-BE" altLang="fr-FR" sz="1200">
              <a:solidFill>
                <a:srgbClr val="0F5494"/>
              </a:solidFill>
              <a:latin typeface="Verdana" pitchFamily="34" charset="0"/>
            </a:endParaRPr>
          </a:p>
        </p:txBody>
      </p:sp>
      <p:sp>
        <p:nvSpPr>
          <p:cNvPr id="34822" name="Rounded Rectangle 35"/>
          <p:cNvSpPr>
            <a:spLocks noChangeArrowheads="1"/>
          </p:cNvSpPr>
          <p:nvPr/>
        </p:nvSpPr>
        <p:spPr bwMode="auto">
          <a:xfrm>
            <a:off x="4645444" y="2133600"/>
            <a:ext cx="2203564" cy="431958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F549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endParaRPr lang="fr-BE" altLang="fr-FR" sz="1200">
              <a:solidFill>
                <a:srgbClr val="0F5494"/>
              </a:solidFill>
              <a:latin typeface="Verdana" pitchFamily="34" charset="0"/>
            </a:endParaRPr>
          </a:p>
        </p:txBody>
      </p:sp>
      <p:sp>
        <p:nvSpPr>
          <p:cNvPr id="34823" name="TextBox 36"/>
          <p:cNvSpPr txBox="1">
            <a:spLocks noChangeArrowheads="1"/>
          </p:cNvSpPr>
          <p:nvPr/>
        </p:nvSpPr>
        <p:spPr bwMode="auto">
          <a:xfrm>
            <a:off x="189048" y="6548438"/>
            <a:ext cx="7747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fr-FR" dirty="0"/>
              <a:t>Session</a:t>
            </a:r>
          </a:p>
        </p:txBody>
      </p:sp>
      <p:sp>
        <p:nvSpPr>
          <p:cNvPr id="37" name="Rectangle 22"/>
          <p:cNvSpPr>
            <a:spLocks noChangeArrowheads="1"/>
          </p:cNvSpPr>
          <p:nvPr/>
        </p:nvSpPr>
        <p:spPr bwMode="auto">
          <a:xfrm>
            <a:off x="7324513" y="2415023"/>
            <a:ext cx="175740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Monitoring systems &amp; result oriented management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38" name="Oval 28"/>
          <p:cNvSpPr>
            <a:spLocks noChangeArrowheads="1"/>
          </p:cNvSpPr>
          <p:nvPr/>
        </p:nvSpPr>
        <p:spPr bwMode="auto">
          <a:xfrm>
            <a:off x="6957961" y="2424797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 dirty="0" smtClean="0">
                <a:solidFill>
                  <a:srgbClr val="FFFFFF"/>
                </a:solidFill>
              </a:rPr>
              <a:t>S13</a:t>
            </a:r>
            <a:endParaRPr lang="en-US" altLang="fr-FR" sz="1500" b="1" dirty="0">
              <a:solidFill>
                <a:srgbClr val="FFFFFF"/>
              </a:solidFill>
            </a:endParaRPr>
          </a:p>
        </p:txBody>
      </p:sp>
      <p:sp>
        <p:nvSpPr>
          <p:cNvPr id="39" name="Rectangle 22"/>
          <p:cNvSpPr>
            <a:spLocks noChangeArrowheads="1"/>
          </p:cNvSpPr>
          <p:nvPr/>
        </p:nvSpPr>
        <p:spPr bwMode="auto">
          <a:xfrm>
            <a:off x="7306914" y="3498538"/>
            <a:ext cx="183708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Working groups on LFM, indicators  &amp; sources of verification 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40" name="Oval 28"/>
          <p:cNvSpPr>
            <a:spLocks noChangeArrowheads="1"/>
          </p:cNvSpPr>
          <p:nvPr/>
        </p:nvSpPr>
        <p:spPr bwMode="auto">
          <a:xfrm>
            <a:off x="6958656" y="3488879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 dirty="0" smtClean="0">
                <a:solidFill>
                  <a:srgbClr val="FFFFFF"/>
                </a:solidFill>
              </a:rPr>
              <a:t>S14</a:t>
            </a:r>
            <a:endParaRPr lang="en-US" altLang="fr-FR" sz="1500" b="1" dirty="0">
              <a:solidFill>
                <a:srgbClr val="FFFFFF"/>
              </a:solidFill>
            </a:endParaRPr>
          </a:p>
        </p:txBody>
      </p:sp>
      <p:sp>
        <p:nvSpPr>
          <p:cNvPr id="42" name="Oval 28"/>
          <p:cNvSpPr>
            <a:spLocks noChangeArrowheads="1"/>
          </p:cNvSpPr>
          <p:nvPr/>
        </p:nvSpPr>
        <p:spPr bwMode="auto">
          <a:xfrm>
            <a:off x="6958656" y="4537966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 dirty="0" smtClean="0">
                <a:solidFill>
                  <a:srgbClr val="FFFFFF"/>
                </a:solidFill>
              </a:rPr>
              <a:t>S15</a:t>
            </a:r>
            <a:endParaRPr lang="en-US" altLang="fr-FR" sz="1500" b="1" dirty="0">
              <a:solidFill>
                <a:srgbClr val="FFFFFF"/>
              </a:solidFill>
            </a:endParaRPr>
          </a:p>
        </p:txBody>
      </p:sp>
      <p:sp>
        <p:nvSpPr>
          <p:cNvPr id="43" name="Rectangle 22"/>
          <p:cNvSpPr>
            <a:spLocks noChangeArrowheads="1"/>
          </p:cNvSpPr>
          <p:nvPr/>
        </p:nvSpPr>
        <p:spPr bwMode="auto">
          <a:xfrm>
            <a:off x="7306914" y="5634624"/>
            <a:ext cx="177499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Recap, conclusions  &amp; evaluation of the training course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44" name="Oval 55"/>
          <p:cNvSpPr>
            <a:spLocks noChangeArrowheads="1"/>
          </p:cNvSpPr>
          <p:nvPr/>
        </p:nvSpPr>
        <p:spPr bwMode="auto">
          <a:xfrm>
            <a:off x="6959350" y="5623075"/>
            <a:ext cx="348954" cy="453984"/>
          </a:xfrm>
          <a:prstGeom prst="ellipse">
            <a:avLst/>
          </a:prstGeom>
          <a:solidFill>
            <a:srgbClr val="A50021"/>
          </a:solidFill>
          <a:ln w="12700" algn="ctr">
            <a:solidFill>
              <a:srgbClr val="7D0900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eaLnBrk="0">
              <a:spcBef>
                <a:spcPct val="50000"/>
              </a:spcBef>
            </a:pPr>
            <a:r>
              <a:rPr lang="en-US" altLang="fr-FR" sz="1500" b="1" dirty="0" smtClean="0">
                <a:solidFill>
                  <a:srgbClr val="FFFFFF"/>
                </a:solidFill>
              </a:rPr>
              <a:t>S16</a:t>
            </a:r>
            <a:endParaRPr lang="en-US" altLang="fr-FR" sz="1500" b="1" dirty="0">
              <a:solidFill>
                <a:srgbClr val="FFFFFF"/>
              </a:solidFill>
            </a:endParaRPr>
          </a:p>
        </p:txBody>
      </p:sp>
      <p:sp>
        <p:nvSpPr>
          <p:cNvPr id="45" name="AutoShape 21"/>
          <p:cNvSpPr>
            <a:spLocks noChangeArrowheads="1"/>
          </p:cNvSpPr>
          <p:nvPr/>
        </p:nvSpPr>
        <p:spPr bwMode="auto">
          <a:xfrm>
            <a:off x="7070319" y="1360636"/>
            <a:ext cx="2038185" cy="684151"/>
          </a:xfrm>
          <a:prstGeom prst="chevron">
            <a:avLst>
              <a:gd name="adj" fmla="val 53546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190500" algn="ctr" eaLnBrk="0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Day </a:t>
            </a:r>
            <a:r>
              <a:rPr lang="en-US" b="1" dirty="0" smtClean="0">
                <a:solidFill>
                  <a:schemeClr val="bg1"/>
                </a:solidFill>
              </a:rPr>
              <a:t>4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6" name="Rounded Rectangle 35"/>
          <p:cNvSpPr>
            <a:spLocks noChangeArrowheads="1"/>
          </p:cNvSpPr>
          <p:nvPr/>
        </p:nvSpPr>
        <p:spPr bwMode="auto">
          <a:xfrm>
            <a:off x="6904940" y="2133748"/>
            <a:ext cx="2203564" cy="4319588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F549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endParaRPr lang="fr-BE" altLang="fr-FR" sz="1200">
              <a:solidFill>
                <a:srgbClr val="0F5494"/>
              </a:solidFill>
              <a:latin typeface="Verdana" pitchFamily="34" charset="0"/>
            </a:endParaRPr>
          </a:p>
        </p:txBody>
      </p:sp>
      <p:sp>
        <p:nvSpPr>
          <p:cNvPr id="47" name="Rectangle 22"/>
          <p:cNvSpPr>
            <a:spLocks noChangeArrowheads="1"/>
          </p:cNvSpPr>
          <p:nvPr/>
        </p:nvSpPr>
        <p:spPr bwMode="auto">
          <a:xfrm>
            <a:off x="2772967" y="5719182"/>
            <a:ext cx="175325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Case study: How to improve the LFM with the IL 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48" name="Rectangle 22"/>
          <p:cNvSpPr>
            <a:spLocks noChangeArrowheads="1"/>
          </p:cNvSpPr>
          <p:nvPr/>
        </p:nvSpPr>
        <p:spPr bwMode="auto">
          <a:xfrm>
            <a:off x="2766946" y="3500428"/>
            <a:ext cx="171500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Assumptions, risks, evidence and the Intervention Logic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4932040" y="5526902"/>
            <a:ext cx="195530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>
                <a:solidFill>
                  <a:srgbClr val="000000"/>
                </a:solidFill>
              </a:rPr>
              <a:t>Indicators 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(III</a:t>
            </a:r>
            <a:r>
              <a:rPr lang="en-US" altLang="fr-FR" sz="1400" i="1" dirty="0">
                <a:solidFill>
                  <a:srgbClr val="000000"/>
                </a:solidFill>
              </a:rPr>
              <a:t>): </a:t>
            </a:r>
            <a:r>
              <a:rPr lang="en-US" altLang="fr-FR" sz="1400" i="1" dirty="0" smtClean="0">
                <a:solidFill>
                  <a:srgbClr val="000000"/>
                </a:solidFill>
              </a:rPr>
              <a:t>Quantitative/qualitative indicators &amp; critical analysis of data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44621" y="3561983"/>
            <a:ext cx="19553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3350" indent="-133350" eaLnBrk="0"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First steps in the LFA</a:t>
            </a:r>
            <a:endParaRPr lang="en-US" altLang="fr-FR" sz="1400" i="1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</p:txBody>
      </p:sp>
      <p:sp>
        <p:nvSpPr>
          <p:cNvPr id="50" name="Rectangle 22"/>
          <p:cNvSpPr>
            <a:spLocks noChangeArrowheads="1"/>
          </p:cNvSpPr>
          <p:nvPr/>
        </p:nvSpPr>
        <p:spPr bwMode="auto">
          <a:xfrm>
            <a:off x="7306914" y="4546133"/>
            <a:ext cx="165556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33350" indent="-133350"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tx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</a:rPr>
              <a:t>Plenary presentation of group work</a:t>
            </a:r>
            <a:endParaRPr lang="en-US" altLang="fr-FR" sz="1400" i="1" dirty="0">
              <a:solidFill>
                <a:srgbClr val="000000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52786" y="5662832"/>
            <a:ext cx="19553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3350" indent="-133350" eaLnBrk="0">
              <a:spcBef>
                <a:spcPct val="50000"/>
              </a:spcBef>
              <a:buClr>
                <a:schemeClr val="bg2"/>
              </a:buClr>
              <a:buFontTx/>
              <a:buChar char="•"/>
            </a:pPr>
            <a:r>
              <a:rPr lang="en-US" altLang="fr-FR" sz="1400" i="1" dirty="0" smtClean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Case study: understanding the context </a:t>
            </a:r>
            <a:endParaRPr lang="en-US" altLang="fr-FR" sz="1400" i="1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92128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B604B2CE-5476-489E-B7BD-9E2678F7C8AF}" type="slidenum">
              <a:rPr lang="en-GB" smtClean="0">
                <a:solidFill>
                  <a:schemeClr val="tx1"/>
                </a:solidFill>
                <a:latin typeface="Arial" pitchFamily="34" charset="0"/>
              </a:rPr>
              <a:pPr/>
              <a:t>7</a:t>
            </a:fld>
            <a:endParaRPr lang="en-GB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100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-9211" y="2924944"/>
            <a:ext cx="9144000" cy="1728787"/>
          </a:xfrm>
        </p:spPr>
        <p:txBody>
          <a:bodyPr/>
          <a:lstStyle/>
          <a:p>
            <a:pPr algn="ctr" eaLnBrk="1" hangingPunct="1"/>
            <a:r>
              <a:rPr lang="fr-FR" dirty="0" smtClean="0"/>
              <a:t>The </a:t>
            </a:r>
            <a:r>
              <a:rPr lang="fr-FR" dirty="0" err="1" smtClean="0"/>
              <a:t>Logical</a:t>
            </a:r>
            <a:r>
              <a:rPr lang="fr-FR" dirty="0" smtClean="0"/>
              <a:t> Framework </a:t>
            </a:r>
            <a:r>
              <a:rPr lang="fr-FR" dirty="0" err="1" smtClean="0"/>
              <a:t>Approach</a:t>
            </a:r>
            <a:r>
              <a:rPr lang="fr-FR" dirty="0" smtClean="0"/>
              <a:t> &amp;</a:t>
            </a:r>
          </a:p>
          <a:p>
            <a:pPr algn="ctr" eaLnBrk="1" hangingPunct="1"/>
            <a:r>
              <a:rPr lang="fr-FR" dirty="0" smtClean="0"/>
              <a:t> </a:t>
            </a:r>
            <a:r>
              <a:rPr lang="fr-FR" dirty="0" err="1" smtClean="0"/>
              <a:t>project</a:t>
            </a:r>
            <a:r>
              <a:rPr lang="fr-FR" dirty="0" smtClean="0"/>
              <a:t> and programme cycle management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10863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34A51CD1-ED47-4819-92C5-C02DDD91A175}" type="slidenum">
              <a:rPr lang="en-GB" smtClean="0">
                <a:latin typeface="Arial" pitchFamily="34" charset="0"/>
              </a:rPr>
              <a:pPr/>
              <a:t>8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28625" y="1231353"/>
            <a:ext cx="8229600" cy="517525"/>
          </a:xfrm>
        </p:spPr>
        <p:txBody>
          <a:bodyPr/>
          <a:lstStyle/>
          <a:p>
            <a:pPr indent="0" algn="ctr" eaLnBrk="1" hangingPunct="1"/>
            <a:r>
              <a:rPr lang="fr-FR" dirty="0" err="1" smtClean="0"/>
              <a:t>Projects</a:t>
            </a:r>
            <a:r>
              <a:rPr lang="fr-FR" dirty="0" smtClean="0"/>
              <a:t> and Programmes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8644" y="1841115"/>
            <a:ext cx="8966770" cy="4880359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en-GB" sz="1600" dirty="0" smtClean="0"/>
              <a:t>A</a:t>
            </a:r>
            <a:r>
              <a:rPr lang="en-GB" sz="1600" b="1" dirty="0" smtClean="0"/>
              <a:t> </a:t>
            </a:r>
            <a:r>
              <a:rPr lang="en-GB" sz="1600" b="1" dirty="0"/>
              <a:t>project </a:t>
            </a:r>
            <a:r>
              <a:rPr lang="en-GB" sz="1600" dirty="0"/>
              <a:t>is a set of inputs, activities and outputs, agreed with the partner country*, to </a:t>
            </a:r>
            <a:r>
              <a:rPr lang="en-GB" sz="1600" u="sng" dirty="0"/>
              <a:t>reach specific objectives/outcomes </a:t>
            </a:r>
            <a:r>
              <a:rPr lang="en-GB" sz="1600" dirty="0"/>
              <a:t>within a defined </a:t>
            </a:r>
            <a:r>
              <a:rPr lang="en-GB" sz="1600" u="sng" dirty="0"/>
              <a:t>time</a:t>
            </a:r>
            <a:r>
              <a:rPr lang="en-GB" sz="1600" dirty="0"/>
              <a:t> frame, with a defined </a:t>
            </a:r>
            <a:r>
              <a:rPr lang="en-GB" sz="1600" u="sng" dirty="0"/>
              <a:t>budget</a:t>
            </a:r>
            <a:r>
              <a:rPr lang="en-GB" sz="1600" dirty="0"/>
              <a:t> and a defined geographical </a:t>
            </a:r>
            <a:r>
              <a:rPr lang="en-GB" sz="1600" u="sng" dirty="0"/>
              <a:t>area</a:t>
            </a:r>
            <a:r>
              <a:rPr lang="en-GB" sz="1600" dirty="0"/>
              <a:t>. </a:t>
            </a:r>
            <a:r>
              <a:rPr lang="en-GB" sz="1600" dirty="0" smtClean="0"/>
              <a:t>…A </a:t>
            </a:r>
            <a:r>
              <a:rPr lang="en-GB" sz="1600" dirty="0"/>
              <a:t>large project with a number of different components is sometimes referred to as a programme (…) (OECD – 2014)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en-GB" sz="1600" dirty="0" smtClean="0"/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en-GB" sz="1600" dirty="0"/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en-GB" sz="1600" dirty="0" smtClean="0"/>
              <a:t>A</a:t>
            </a:r>
            <a:r>
              <a:rPr lang="en-GB" sz="1600" b="1" dirty="0" smtClean="0"/>
              <a:t> programme</a:t>
            </a:r>
            <a:r>
              <a:rPr lang="en-GB" sz="1600" dirty="0"/>
              <a:t>: can have various meanings, either: (</a:t>
            </a:r>
            <a:r>
              <a:rPr lang="en-GB" sz="1600" dirty="0" err="1"/>
              <a:t>i</a:t>
            </a:r>
            <a:r>
              <a:rPr lang="en-GB" sz="1600" dirty="0"/>
              <a:t>) a set of projects put together under the overall framework of a common Overall Objective/Goal; (ii) an ongoing set of initiatives/services that support common objectives </a:t>
            </a:r>
            <a:r>
              <a:rPr lang="en-GB" sz="1600" dirty="0" smtClean="0"/>
              <a:t>(e.g. </a:t>
            </a:r>
            <a:r>
              <a:rPr lang="en-GB" sz="1600" dirty="0"/>
              <a:t>a Primary Health Care Programme); or (iii) a Sector Programme, which is defined by the responsible government’s sector policy (</a:t>
            </a:r>
            <a:r>
              <a:rPr lang="en-GB" sz="1600" dirty="0" smtClean="0"/>
              <a:t>i.e. </a:t>
            </a:r>
            <a:r>
              <a:rPr lang="en-GB" sz="1600" dirty="0"/>
              <a:t>a Health Sector Programme).  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en-GB" sz="1600" dirty="0" smtClean="0"/>
              <a:t>(from </a:t>
            </a:r>
            <a:r>
              <a:rPr lang="en-GB" sz="1600" dirty="0"/>
              <a:t>the EC PCM guidelines – 2004</a:t>
            </a:r>
            <a:r>
              <a:rPr lang="en-GB" sz="1600" dirty="0" smtClean="0"/>
              <a:t>)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fr-BE" sz="1600" b="0" dirty="0"/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fr-BE" sz="1600" dirty="0" smtClean="0"/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fr-BE" sz="1600" dirty="0" err="1" smtClean="0"/>
              <a:t>Other</a:t>
            </a:r>
            <a:r>
              <a:rPr lang="fr-BE" sz="1600" dirty="0" smtClean="0"/>
              <a:t> </a:t>
            </a:r>
            <a:r>
              <a:rPr lang="fr-BE" sz="1600" dirty="0" err="1" smtClean="0"/>
              <a:t>terms</a:t>
            </a:r>
            <a:r>
              <a:rPr lang="fr-BE" sz="1600" dirty="0" smtClean="0"/>
              <a:t>: </a:t>
            </a:r>
            <a:r>
              <a:rPr lang="fr-BE" sz="1600" dirty="0" err="1" smtClean="0"/>
              <a:t>development</a:t>
            </a:r>
            <a:r>
              <a:rPr lang="fr-BE" sz="1600" dirty="0" smtClean="0"/>
              <a:t> actions or interventions  </a:t>
            </a:r>
            <a:endParaRPr lang="en-GB" sz="1600" b="0" dirty="0" smtClean="0"/>
          </a:p>
        </p:txBody>
      </p:sp>
      <p:sp>
        <p:nvSpPr>
          <p:cNvPr id="5" name="ZoneTexte 4"/>
          <p:cNvSpPr txBox="1"/>
          <p:nvPr/>
        </p:nvSpPr>
        <p:spPr>
          <a:xfrm>
            <a:off x="80747" y="5877507"/>
            <a:ext cx="8925356" cy="550962"/>
          </a:xfrm>
          <a:prstGeom prst="foldedCorner">
            <a:avLst/>
          </a:prstGeom>
          <a:solidFill>
            <a:srgbClr val="FFC000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Above all: Projects and </a:t>
            </a:r>
            <a:r>
              <a:rPr lang="en-US" sz="2400" dirty="0" err="1" smtClean="0"/>
              <a:t>Programmes</a:t>
            </a:r>
            <a:r>
              <a:rPr lang="en-US" sz="2400" dirty="0" smtClean="0"/>
              <a:t> </a:t>
            </a:r>
            <a:r>
              <a:rPr lang="en-US" sz="2400" b="1" dirty="0" smtClean="0"/>
              <a:t>LEAD TO CHANGE</a:t>
            </a:r>
            <a:endParaRPr lang="fr-BE" sz="2400" b="1" dirty="0"/>
          </a:p>
        </p:txBody>
      </p:sp>
    </p:spTree>
    <p:extLst>
      <p:ext uri="{BB962C8B-B14F-4D97-AF65-F5344CB8AC3E}">
        <p14:creationId xmlns:p14="http://schemas.microsoft.com/office/powerpoint/2010/main" val="222752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"/>
          <p:cNvSpPr txBox="1">
            <a:spLocks noChangeArrowheads="1"/>
          </p:cNvSpPr>
          <p:nvPr/>
        </p:nvSpPr>
        <p:spPr bwMode="auto">
          <a:xfrm>
            <a:off x="-252536" y="107316"/>
            <a:ext cx="4420294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indent="0" eaLnBrk="1" hangingPunct="1"/>
            <a:r>
              <a:rPr lang="en-US" sz="2400" kern="0" dirty="0" smtClean="0">
                <a:solidFill>
                  <a:schemeClr val="bg1"/>
                </a:solidFill>
              </a:rPr>
              <a:t>DEVCO Project and Programme Cycle</a:t>
            </a:r>
            <a:endParaRPr lang="fr-BE" sz="2400" kern="0" dirty="0" smtClean="0">
              <a:solidFill>
                <a:schemeClr val="bg1"/>
              </a:solidFill>
            </a:endParaRPr>
          </a:p>
        </p:txBody>
      </p:sp>
      <p:sp>
        <p:nvSpPr>
          <p:cNvPr id="3" name="Text Box 626"/>
          <p:cNvSpPr txBox="1">
            <a:spLocks noChangeArrowheads="1"/>
          </p:cNvSpPr>
          <p:nvPr/>
        </p:nvSpPr>
        <p:spPr bwMode="auto">
          <a:xfrm>
            <a:off x="6004785" y="2624312"/>
            <a:ext cx="1552119" cy="519563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Generally, each sector selected will be  subject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of one Action document  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139277" y="1380730"/>
            <a:ext cx="6844666" cy="5295900"/>
            <a:chOff x="-1" y="0"/>
            <a:chExt cx="6844820" cy="5295900"/>
          </a:xfrm>
        </p:grpSpPr>
        <p:grpSp>
          <p:nvGrpSpPr>
            <p:cNvPr id="35" name="Group 34"/>
            <p:cNvGrpSpPr>
              <a:grpSpLocks/>
            </p:cNvGrpSpPr>
            <p:nvPr/>
          </p:nvGrpSpPr>
          <p:grpSpPr bwMode="auto">
            <a:xfrm>
              <a:off x="1335088" y="1290638"/>
              <a:ext cx="3763962" cy="3548062"/>
              <a:chOff x="1335088" y="1290638"/>
              <a:chExt cx="3764340" cy="3547131"/>
            </a:xfrm>
          </p:grpSpPr>
          <p:grpSp>
            <p:nvGrpSpPr>
              <p:cNvPr id="639" name="Group 638"/>
              <p:cNvGrpSpPr>
                <a:grpSpLocks/>
              </p:cNvGrpSpPr>
              <p:nvPr/>
            </p:nvGrpSpPr>
            <p:grpSpPr bwMode="auto">
              <a:xfrm>
                <a:off x="1335088" y="1290638"/>
                <a:ext cx="3764340" cy="3547131"/>
                <a:chOff x="1335088" y="1290638"/>
                <a:chExt cx="3764340" cy="3547131"/>
              </a:xfrm>
            </p:grpSpPr>
            <p:grpSp>
              <p:nvGrpSpPr>
                <p:cNvPr id="653" name="Group 652"/>
                <p:cNvGrpSpPr>
                  <a:grpSpLocks/>
                </p:cNvGrpSpPr>
                <p:nvPr/>
              </p:nvGrpSpPr>
              <p:grpSpPr bwMode="auto">
                <a:xfrm>
                  <a:off x="1335088" y="1290638"/>
                  <a:ext cx="3759085" cy="3547131"/>
                  <a:chOff x="1335088" y="1290638"/>
                  <a:chExt cx="2146" cy="2025"/>
                </a:xfrm>
              </p:grpSpPr>
              <p:sp>
                <p:nvSpPr>
                  <p:cNvPr id="655" name="Freeform 654"/>
                  <p:cNvSpPr>
                    <a:spLocks/>
                  </p:cNvSpPr>
                  <p:nvPr/>
                </p:nvSpPr>
                <p:spPr bwMode="auto">
                  <a:xfrm>
                    <a:off x="1335088" y="1290643"/>
                    <a:ext cx="2146" cy="2020"/>
                  </a:xfrm>
                  <a:custGeom>
                    <a:avLst/>
                    <a:gdLst>
                      <a:gd name="T0" fmla="*/ 0 w 17884"/>
                      <a:gd name="T1" fmla="*/ 0 h 16830"/>
                      <a:gd name="T2" fmla="*/ 0 w 17884"/>
                      <a:gd name="T3" fmla="*/ 0 h 16830"/>
                      <a:gd name="T4" fmla="*/ 0 w 17884"/>
                      <a:gd name="T5" fmla="*/ 0 h 16830"/>
                      <a:gd name="T6" fmla="*/ 0 w 17884"/>
                      <a:gd name="T7" fmla="*/ 0 h 16830"/>
                      <a:gd name="T8" fmla="*/ 0 w 17884"/>
                      <a:gd name="T9" fmla="*/ 0 h 16830"/>
                      <a:gd name="T10" fmla="*/ 0 w 17884"/>
                      <a:gd name="T11" fmla="*/ 0 h 16830"/>
                      <a:gd name="T12" fmla="*/ 0 w 17884"/>
                      <a:gd name="T13" fmla="*/ 0 h 16830"/>
                      <a:gd name="T14" fmla="*/ 0 w 17884"/>
                      <a:gd name="T15" fmla="*/ 0 h 16830"/>
                      <a:gd name="T16" fmla="*/ 0 w 17884"/>
                      <a:gd name="T17" fmla="*/ 0 h 16830"/>
                      <a:gd name="T18" fmla="*/ 0 w 17884"/>
                      <a:gd name="T19" fmla="*/ 0 h 16830"/>
                      <a:gd name="T20" fmla="*/ 0 w 17884"/>
                      <a:gd name="T21" fmla="*/ 0 h 16830"/>
                      <a:gd name="T22" fmla="*/ 0 w 17884"/>
                      <a:gd name="T23" fmla="*/ 0 h 16830"/>
                      <a:gd name="T24" fmla="*/ 0 w 17884"/>
                      <a:gd name="T25" fmla="*/ 0 h 16830"/>
                      <a:gd name="T26" fmla="*/ 0 w 17884"/>
                      <a:gd name="T27" fmla="*/ 0 h 16830"/>
                      <a:gd name="T28" fmla="*/ 0 w 17884"/>
                      <a:gd name="T29" fmla="*/ 0 h 16830"/>
                      <a:gd name="T30" fmla="*/ 0 w 17884"/>
                      <a:gd name="T31" fmla="*/ 0 h 16830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0" t="0" r="r" b="b"/>
                    <a:pathLst>
                      <a:path w="17884" h="16830">
                        <a:moveTo>
                          <a:pt x="5532" y="3374"/>
                        </a:moveTo>
                        <a:cubicBezTo>
                          <a:pt x="4388" y="4142"/>
                          <a:pt x="3570" y="5284"/>
                          <a:pt x="3223" y="6598"/>
                        </a:cubicBezTo>
                        <a:cubicBezTo>
                          <a:pt x="2417" y="9651"/>
                          <a:pt x="4324" y="12804"/>
                          <a:pt x="7482" y="13638"/>
                        </a:cubicBezTo>
                        <a:cubicBezTo>
                          <a:pt x="10641" y="14472"/>
                          <a:pt x="13854" y="12673"/>
                          <a:pt x="14661" y="9619"/>
                        </a:cubicBezTo>
                        <a:cubicBezTo>
                          <a:pt x="15467" y="6565"/>
                          <a:pt x="13561" y="3414"/>
                          <a:pt x="10402" y="2579"/>
                        </a:cubicBezTo>
                        <a:cubicBezTo>
                          <a:pt x="10006" y="2474"/>
                          <a:pt x="9600" y="2409"/>
                          <a:pt x="9191" y="2386"/>
                        </a:cubicBezTo>
                        <a:lnTo>
                          <a:pt x="9283" y="267"/>
                        </a:lnTo>
                        <a:cubicBezTo>
                          <a:pt x="9843" y="298"/>
                          <a:pt x="10400" y="388"/>
                          <a:pt x="10942" y="530"/>
                        </a:cubicBezTo>
                        <a:cubicBezTo>
                          <a:pt x="15271" y="1674"/>
                          <a:pt x="17884" y="5994"/>
                          <a:pt x="16779" y="10179"/>
                        </a:cubicBezTo>
                        <a:cubicBezTo>
                          <a:pt x="15675" y="14363"/>
                          <a:pt x="11270" y="16830"/>
                          <a:pt x="6941" y="15686"/>
                        </a:cubicBezTo>
                        <a:cubicBezTo>
                          <a:pt x="2613" y="14543"/>
                          <a:pt x="0" y="10223"/>
                          <a:pt x="1105" y="6038"/>
                        </a:cubicBezTo>
                        <a:cubicBezTo>
                          <a:pt x="1580" y="4238"/>
                          <a:pt x="2701" y="2673"/>
                          <a:pt x="4270" y="1621"/>
                        </a:cubicBezTo>
                        <a:lnTo>
                          <a:pt x="3101" y="0"/>
                        </a:lnTo>
                        <a:lnTo>
                          <a:pt x="7443" y="791"/>
                        </a:lnTo>
                        <a:lnTo>
                          <a:pt x="6700" y="4996"/>
                        </a:lnTo>
                        <a:lnTo>
                          <a:pt x="5532" y="3374"/>
                        </a:lnTo>
                        <a:close/>
                      </a:path>
                    </a:pathLst>
                  </a:custGeom>
                  <a:solidFill>
                    <a:srgbClr val="00B0F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656" name="Freeform 655"/>
                  <p:cNvSpPr>
                    <a:spLocks/>
                  </p:cNvSpPr>
                  <p:nvPr/>
                </p:nvSpPr>
                <p:spPr bwMode="auto">
                  <a:xfrm>
                    <a:off x="1335088" y="1290638"/>
                    <a:ext cx="2146" cy="2020"/>
                  </a:xfrm>
                  <a:custGeom>
                    <a:avLst/>
                    <a:gdLst>
                      <a:gd name="T0" fmla="*/ 0 w 17884"/>
                      <a:gd name="T1" fmla="*/ 0 h 16830"/>
                      <a:gd name="T2" fmla="*/ 0 w 17884"/>
                      <a:gd name="T3" fmla="*/ 0 h 16830"/>
                      <a:gd name="T4" fmla="*/ 0 w 17884"/>
                      <a:gd name="T5" fmla="*/ 0 h 16830"/>
                      <a:gd name="T6" fmla="*/ 0 w 17884"/>
                      <a:gd name="T7" fmla="*/ 0 h 16830"/>
                      <a:gd name="T8" fmla="*/ 0 w 17884"/>
                      <a:gd name="T9" fmla="*/ 0 h 16830"/>
                      <a:gd name="T10" fmla="*/ 0 w 17884"/>
                      <a:gd name="T11" fmla="*/ 0 h 16830"/>
                      <a:gd name="T12" fmla="*/ 0 w 17884"/>
                      <a:gd name="T13" fmla="*/ 0 h 16830"/>
                      <a:gd name="T14" fmla="*/ 0 w 17884"/>
                      <a:gd name="T15" fmla="*/ 0 h 16830"/>
                      <a:gd name="T16" fmla="*/ 0 w 17884"/>
                      <a:gd name="T17" fmla="*/ 0 h 16830"/>
                      <a:gd name="T18" fmla="*/ 0 w 17884"/>
                      <a:gd name="T19" fmla="*/ 0 h 16830"/>
                      <a:gd name="T20" fmla="*/ 0 w 17884"/>
                      <a:gd name="T21" fmla="*/ 0 h 16830"/>
                      <a:gd name="T22" fmla="*/ 0 w 17884"/>
                      <a:gd name="T23" fmla="*/ 0 h 16830"/>
                      <a:gd name="T24" fmla="*/ 0 w 17884"/>
                      <a:gd name="T25" fmla="*/ 0 h 16830"/>
                      <a:gd name="T26" fmla="*/ 0 w 17884"/>
                      <a:gd name="T27" fmla="*/ 0 h 16830"/>
                      <a:gd name="T28" fmla="*/ 0 w 17884"/>
                      <a:gd name="T29" fmla="*/ 0 h 16830"/>
                      <a:gd name="T30" fmla="*/ 0 w 17884"/>
                      <a:gd name="T31" fmla="*/ 0 h 16830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0" t="0" r="r" b="b"/>
                    <a:pathLst>
                      <a:path w="17884" h="16830">
                        <a:moveTo>
                          <a:pt x="5532" y="3374"/>
                        </a:moveTo>
                        <a:cubicBezTo>
                          <a:pt x="4388" y="4142"/>
                          <a:pt x="3570" y="5284"/>
                          <a:pt x="3223" y="6598"/>
                        </a:cubicBezTo>
                        <a:cubicBezTo>
                          <a:pt x="2417" y="9651"/>
                          <a:pt x="4324" y="12804"/>
                          <a:pt x="7482" y="13638"/>
                        </a:cubicBezTo>
                        <a:cubicBezTo>
                          <a:pt x="10641" y="14472"/>
                          <a:pt x="13854" y="12673"/>
                          <a:pt x="14661" y="9619"/>
                        </a:cubicBezTo>
                        <a:cubicBezTo>
                          <a:pt x="15467" y="6565"/>
                          <a:pt x="13561" y="3414"/>
                          <a:pt x="10402" y="2579"/>
                        </a:cubicBezTo>
                        <a:cubicBezTo>
                          <a:pt x="10006" y="2474"/>
                          <a:pt x="9600" y="2409"/>
                          <a:pt x="9191" y="2386"/>
                        </a:cubicBezTo>
                        <a:lnTo>
                          <a:pt x="9283" y="267"/>
                        </a:lnTo>
                        <a:cubicBezTo>
                          <a:pt x="9843" y="298"/>
                          <a:pt x="10400" y="388"/>
                          <a:pt x="10942" y="530"/>
                        </a:cubicBezTo>
                        <a:cubicBezTo>
                          <a:pt x="15271" y="1674"/>
                          <a:pt x="17884" y="5994"/>
                          <a:pt x="16779" y="10179"/>
                        </a:cubicBezTo>
                        <a:cubicBezTo>
                          <a:pt x="15675" y="14363"/>
                          <a:pt x="11270" y="16830"/>
                          <a:pt x="6941" y="15686"/>
                        </a:cubicBezTo>
                        <a:cubicBezTo>
                          <a:pt x="2613" y="14543"/>
                          <a:pt x="0" y="10223"/>
                          <a:pt x="1105" y="6038"/>
                        </a:cubicBezTo>
                        <a:cubicBezTo>
                          <a:pt x="1580" y="4238"/>
                          <a:pt x="2701" y="2673"/>
                          <a:pt x="4270" y="1621"/>
                        </a:cubicBezTo>
                        <a:lnTo>
                          <a:pt x="3101" y="0"/>
                        </a:lnTo>
                        <a:lnTo>
                          <a:pt x="7443" y="791"/>
                        </a:lnTo>
                        <a:lnTo>
                          <a:pt x="6700" y="4996"/>
                        </a:lnTo>
                        <a:lnTo>
                          <a:pt x="5532" y="3374"/>
                        </a:lnTo>
                        <a:close/>
                      </a:path>
                    </a:pathLst>
                  </a:custGeom>
                  <a:noFill/>
                  <a:ln w="1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sp>
              <p:nvSpPr>
                <p:cNvPr id="654" name="Freeform 653"/>
                <p:cNvSpPr>
                  <a:spLocks/>
                </p:cNvSpPr>
                <p:nvPr/>
              </p:nvSpPr>
              <p:spPr bwMode="auto">
                <a:xfrm>
                  <a:off x="1340343" y="1295893"/>
                  <a:ext cx="3759085" cy="3538373"/>
                </a:xfrm>
                <a:custGeom>
                  <a:avLst/>
                  <a:gdLst>
                    <a:gd name="T0" fmla="*/ 2147483647 w 17883"/>
                    <a:gd name="T1" fmla="*/ 2147483647 h 16830"/>
                    <a:gd name="T2" fmla="*/ 2147483647 w 17883"/>
                    <a:gd name="T3" fmla="*/ 2147483647 h 16830"/>
                    <a:gd name="T4" fmla="*/ 2147483647 w 17883"/>
                    <a:gd name="T5" fmla="*/ 2147483647 h 16830"/>
                    <a:gd name="T6" fmla="*/ 2147483647 w 17883"/>
                    <a:gd name="T7" fmla="*/ 2147483647 h 16830"/>
                    <a:gd name="T8" fmla="*/ 2147483647 w 17883"/>
                    <a:gd name="T9" fmla="*/ 2147483647 h 16830"/>
                    <a:gd name="T10" fmla="*/ 2147483647 w 17883"/>
                    <a:gd name="T11" fmla="*/ 2147483647 h 16830"/>
                    <a:gd name="T12" fmla="*/ 2147483647 w 17883"/>
                    <a:gd name="T13" fmla="*/ 2147483647 h 16830"/>
                    <a:gd name="T14" fmla="*/ 2147483647 w 17883"/>
                    <a:gd name="T15" fmla="*/ 2147483647 h 16830"/>
                    <a:gd name="T16" fmla="*/ 2147483647 w 17883"/>
                    <a:gd name="T17" fmla="*/ 2147483647 h 16830"/>
                    <a:gd name="T18" fmla="*/ 2147483647 w 17883"/>
                    <a:gd name="T19" fmla="*/ 2147483647 h 16830"/>
                    <a:gd name="T20" fmla="*/ 2147483647 w 17883"/>
                    <a:gd name="T21" fmla="*/ 2147483647 h 16830"/>
                    <a:gd name="T22" fmla="*/ 2147483647 w 17883"/>
                    <a:gd name="T23" fmla="*/ 2147483647 h 16830"/>
                    <a:gd name="T24" fmla="*/ 2147483647 w 17883"/>
                    <a:gd name="T25" fmla="*/ 0 h 16830"/>
                    <a:gd name="T26" fmla="*/ 2147483647 w 17883"/>
                    <a:gd name="T27" fmla="*/ 2147483647 h 16830"/>
                    <a:gd name="T28" fmla="*/ 2147483647 w 17883"/>
                    <a:gd name="T29" fmla="*/ 2147483647 h 16830"/>
                    <a:gd name="T30" fmla="*/ 2147483647 w 17883"/>
                    <a:gd name="T31" fmla="*/ 2147483647 h 1683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7883" h="16830">
                      <a:moveTo>
                        <a:pt x="5532" y="3374"/>
                      </a:moveTo>
                      <a:cubicBezTo>
                        <a:pt x="4388" y="4142"/>
                        <a:pt x="3570" y="5285"/>
                        <a:pt x="3223" y="6598"/>
                      </a:cubicBezTo>
                      <a:cubicBezTo>
                        <a:pt x="2417" y="9651"/>
                        <a:pt x="4323" y="12804"/>
                        <a:pt x="7481" y="13638"/>
                      </a:cubicBezTo>
                      <a:cubicBezTo>
                        <a:pt x="10640" y="14472"/>
                        <a:pt x="13854" y="12673"/>
                        <a:pt x="14661" y="9619"/>
                      </a:cubicBezTo>
                      <a:cubicBezTo>
                        <a:pt x="15467" y="6565"/>
                        <a:pt x="13560" y="3414"/>
                        <a:pt x="10401" y="2579"/>
                      </a:cubicBezTo>
                      <a:cubicBezTo>
                        <a:pt x="10006" y="2474"/>
                        <a:pt x="9599" y="2409"/>
                        <a:pt x="9191" y="2387"/>
                      </a:cubicBezTo>
                      <a:lnTo>
                        <a:pt x="9283" y="267"/>
                      </a:lnTo>
                      <a:cubicBezTo>
                        <a:pt x="9843" y="299"/>
                        <a:pt x="10399" y="388"/>
                        <a:pt x="10942" y="531"/>
                      </a:cubicBezTo>
                      <a:cubicBezTo>
                        <a:pt x="15271" y="1674"/>
                        <a:pt x="17883" y="5994"/>
                        <a:pt x="16779" y="10180"/>
                      </a:cubicBezTo>
                      <a:cubicBezTo>
                        <a:pt x="15674" y="14363"/>
                        <a:pt x="11270" y="16830"/>
                        <a:pt x="6941" y="15687"/>
                      </a:cubicBezTo>
                      <a:cubicBezTo>
                        <a:pt x="2613" y="14543"/>
                        <a:pt x="0" y="10223"/>
                        <a:pt x="1105" y="6039"/>
                      </a:cubicBezTo>
                      <a:cubicBezTo>
                        <a:pt x="1580" y="4238"/>
                        <a:pt x="2701" y="2673"/>
                        <a:pt x="4270" y="1621"/>
                      </a:cubicBezTo>
                      <a:lnTo>
                        <a:pt x="3101" y="0"/>
                      </a:lnTo>
                      <a:lnTo>
                        <a:pt x="7443" y="792"/>
                      </a:lnTo>
                      <a:lnTo>
                        <a:pt x="6700" y="4996"/>
                      </a:lnTo>
                      <a:lnTo>
                        <a:pt x="5532" y="3374"/>
                      </a:lnTo>
                      <a:close/>
                    </a:path>
                  </a:pathLst>
                </a:custGeom>
                <a:noFill/>
                <a:ln w="1" cap="rnd">
                  <a:solidFill>
                    <a:srgbClr val="FFC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640" name="Group 639"/>
              <p:cNvGrpSpPr>
                <a:grpSpLocks/>
              </p:cNvGrpSpPr>
              <p:nvPr/>
            </p:nvGrpSpPr>
            <p:grpSpPr bwMode="auto">
              <a:xfrm>
                <a:off x="4246561" y="3666003"/>
                <a:ext cx="479958" cy="227717"/>
                <a:chOff x="4246561" y="3666003"/>
                <a:chExt cx="274" cy="130"/>
              </a:xfrm>
            </p:grpSpPr>
            <p:sp>
              <p:nvSpPr>
                <p:cNvPr id="651" name="Freeform 650"/>
                <p:cNvSpPr>
                  <a:spLocks/>
                </p:cNvSpPr>
                <p:nvPr/>
              </p:nvSpPr>
              <p:spPr bwMode="auto">
                <a:xfrm>
                  <a:off x="4246561" y="3666003"/>
                  <a:ext cx="274" cy="130"/>
                </a:xfrm>
                <a:custGeom>
                  <a:avLst/>
                  <a:gdLst>
                    <a:gd name="T0" fmla="*/ 264 w 274"/>
                    <a:gd name="T1" fmla="*/ 130 h 130"/>
                    <a:gd name="T2" fmla="*/ 0 w 274"/>
                    <a:gd name="T3" fmla="*/ 28 h 130"/>
                    <a:gd name="T4" fmla="*/ 10 w 274"/>
                    <a:gd name="T5" fmla="*/ 0 h 130"/>
                    <a:gd name="T6" fmla="*/ 274 w 274"/>
                    <a:gd name="T7" fmla="*/ 102 h 130"/>
                    <a:gd name="T8" fmla="*/ 264 w 274"/>
                    <a:gd name="T9" fmla="*/ 130 h 1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74" h="130">
                      <a:moveTo>
                        <a:pt x="264" y="130"/>
                      </a:moveTo>
                      <a:lnTo>
                        <a:pt x="0" y="28"/>
                      </a:lnTo>
                      <a:lnTo>
                        <a:pt x="10" y="0"/>
                      </a:lnTo>
                      <a:lnTo>
                        <a:pt x="274" y="102"/>
                      </a:lnTo>
                      <a:lnTo>
                        <a:pt x="264" y="13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52" name="Freeform 651"/>
                <p:cNvSpPr>
                  <a:spLocks/>
                </p:cNvSpPr>
                <p:nvPr/>
              </p:nvSpPr>
              <p:spPr bwMode="auto">
                <a:xfrm>
                  <a:off x="4246561" y="3666003"/>
                  <a:ext cx="274" cy="130"/>
                </a:xfrm>
                <a:custGeom>
                  <a:avLst/>
                  <a:gdLst>
                    <a:gd name="T0" fmla="*/ 264 w 274"/>
                    <a:gd name="T1" fmla="*/ 130 h 130"/>
                    <a:gd name="T2" fmla="*/ 0 w 274"/>
                    <a:gd name="T3" fmla="*/ 28 h 130"/>
                    <a:gd name="T4" fmla="*/ 10 w 274"/>
                    <a:gd name="T5" fmla="*/ 0 h 130"/>
                    <a:gd name="T6" fmla="*/ 274 w 274"/>
                    <a:gd name="T7" fmla="*/ 102 h 130"/>
                    <a:gd name="T8" fmla="*/ 264 w 274"/>
                    <a:gd name="T9" fmla="*/ 130 h 1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74" h="130">
                      <a:moveTo>
                        <a:pt x="264" y="130"/>
                      </a:moveTo>
                      <a:lnTo>
                        <a:pt x="0" y="28"/>
                      </a:lnTo>
                      <a:lnTo>
                        <a:pt x="10" y="0"/>
                      </a:lnTo>
                      <a:lnTo>
                        <a:pt x="274" y="102"/>
                      </a:lnTo>
                      <a:lnTo>
                        <a:pt x="264" y="130"/>
                      </a:lnTo>
                      <a:close/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" cap="rnd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641" name="Group 640"/>
              <p:cNvGrpSpPr>
                <a:grpSpLocks/>
              </p:cNvGrpSpPr>
              <p:nvPr/>
            </p:nvGrpSpPr>
            <p:grpSpPr bwMode="auto">
              <a:xfrm>
                <a:off x="1524464" y="2837471"/>
                <a:ext cx="506232" cy="110356"/>
                <a:chOff x="1524464" y="2837471"/>
                <a:chExt cx="289" cy="63"/>
              </a:xfrm>
            </p:grpSpPr>
            <p:sp>
              <p:nvSpPr>
                <p:cNvPr id="649" name="Freeform 648"/>
                <p:cNvSpPr>
                  <a:spLocks/>
                </p:cNvSpPr>
                <p:nvPr/>
              </p:nvSpPr>
              <p:spPr bwMode="auto">
                <a:xfrm>
                  <a:off x="1524469" y="2837484"/>
                  <a:ext cx="284" cy="50"/>
                </a:xfrm>
                <a:custGeom>
                  <a:avLst/>
                  <a:gdLst>
                    <a:gd name="T0" fmla="*/ 282 w 284"/>
                    <a:gd name="T1" fmla="*/ 50 h 50"/>
                    <a:gd name="T2" fmla="*/ 0 w 284"/>
                    <a:gd name="T3" fmla="*/ 30 h 50"/>
                    <a:gd name="T4" fmla="*/ 2 w 284"/>
                    <a:gd name="T5" fmla="*/ 0 h 50"/>
                    <a:gd name="T6" fmla="*/ 284 w 284"/>
                    <a:gd name="T7" fmla="*/ 20 h 50"/>
                    <a:gd name="T8" fmla="*/ 282 w 284"/>
                    <a:gd name="T9" fmla="*/ 50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84" h="50">
                      <a:moveTo>
                        <a:pt x="282" y="50"/>
                      </a:moveTo>
                      <a:lnTo>
                        <a:pt x="0" y="30"/>
                      </a:lnTo>
                      <a:lnTo>
                        <a:pt x="2" y="0"/>
                      </a:lnTo>
                      <a:lnTo>
                        <a:pt x="284" y="20"/>
                      </a:lnTo>
                      <a:lnTo>
                        <a:pt x="282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50" name="Freeform 649"/>
                <p:cNvSpPr>
                  <a:spLocks/>
                </p:cNvSpPr>
                <p:nvPr/>
              </p:nvSpPr>
              <p:spPr bwMode="auto">
                <a:xfrm>
                  <a:off x="1524464" y="2837471"/>
                  <a:ext cx="284" cy="50"/>
                </a:xfrm>
                <a:custGeom>
                  <a:avLst/>
                  <a:gdLst>
                    <a:gd name="T0" fmla="*/ 282 w 284"/>
                    <a:gd name="T1" fmla="*/ 50 h 50"/>
                    <a:gd name="T2" fmla="*/ 0 w 284"/>
                    <a:gd name="T3" fmla="*/ 30 h 50"/>
                    <a:gd name="T4" fmla="*/ 2 w 284"/>
                    <a:gd name="T5" fmla="*/ 0 h 50"/>
                    <a:gd name="T6" fmla="*/ 284 w 284"/>
                    <a:gd name="T7" fmla="*/ 20 h 50"/>
                    <a:gd name="T8" fmla="*/ 282 w 284"/>
                    <a:gd name="T9" fmla="*/ 50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84" h="50">
                      <a:moveTo>
                        <a:pt x="282" y="50"/>
                      </a:moveTo>
                      <a:lnTo>
                        <a:pt x="0" y="30"/>
                      </a:lnTo>
                      <a:lnTo>
                        <a:pt x="2" y="0"/>
                      </a:lnTo>
                      <a:lnTo>
                        <a:pt x="284" y="20"/>
                      </a:lnTo>
                      <a:lnTo>
                        <a:pt x="282" y="50"/>
                      </a:lnTo>
                      <a:close/>
                    </a:path>
                  </a:pathLst>
                </a:custGeom>
                <a:noFill/>
                <a:ln w="1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642" name="Group 641"/>
              <p:cNvGrpSpPr>
                <a:grpSpLocks/>
              </p:cNvGrpSpPr>
              <p:nvPr/>
            </p:nvGrpSpPr>
            <p:grpSpPr bwMode="auto">
              <a:xfrm>
                <a:off x="2100762" y="1656841"/>
                <a:ext cx="369602" cy="429159"/>
                <a:chOff x="2100762" y="1656841"/>
                <a:chExt cx="211" cy="245"/>
              </a:xfrm>
            </p:grpSpPr>
            <p:sp>
              <p:nvSpPr>
                <p:cNvPr id="647" name="Freeform 646"/>
                <p:cNvSpPr>
                  <a:spLocks/>
                </p:cNvSpPr>
                <p:nvPr/>
              </p:nvSpPr>
              <p:spPr bwMode="auto">
                <a:xfrm>
                  <a:off x="2100762" y="1656841"/>
                  <a:ext cx="206" cy="235"/>
                </a:xfrm>
                <a:custGeom>
                  <a:avLst/>
                  <a:gdLst>
                    <a:gd name="T0" fmla="*/ 183 w 206"/>
                    <a:gd name="T1" fmla="*/ 235 h 235"/>
                    <a:gd name="T2" fmla="*/ 0 w 206"/>
                    <a:gd name="T3" fmla="*/ 20 h 235"/>
                    <a:gd name="T4" fmla="*/ 23 w 206"/>
                    <a:gd name="T5" fmla="*/ 0 h 235"/>
                    <a:gd name="T6" fmla="*/ 206 w 206"/>
                    <a:gd name="T7" fmla="*/ 216 h 235"/>
                    <a:gd name="T8" fmla="*/ 183 w 206"/>
                    <a:gd name="T9" fmla="*/ 235 h 2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6" h="235">
                      <a:moveTo>
                        <a:pt x="183" y="235"/>
                      </a:moveTo>
                      <a:lnTo>
                        <a:pt x="0" y="20"/>
                      </a:lnTo>
                      <a:lnTo>
                        <a:pt x="23" y="0"/>
                      </a:lnTo>
                      <a:lnTo>
                        <a:pt x="206" y="216"/>
                      </a:lnTo>
                      <a:lnTo>
                        <a:pt x="183" y="2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48" name="Freeform 647"/>
                <p:cNvSpPr>
                  <a:spLocks/>
                </p:cNvSpPr>
                <p:nvPr/>
              </p:nvSpPr>
              <p:spPr bwMode="auto">
                <a:xfrm>
                  <a:off x="2100767" y="1656851"/>
                  <a:ext cx="206" cy="235"/>
                </a:xfrm>
                <a:custGeom>
                  <a:avLst/>
                  <a:gdLst>
                    <a:gd name="T0" fmla="*/ 183 w 206"/>
                    <a:gd name="T1" fmla="*/ 235 h 235"/>
                    <a:gd name="T2" fmla="*/ 0 w 206"/>
                    <a:gd name="T3" fmla="*/ 20 h 235"/>
                    <a:gd name="T4" fmla="*/ 23 w 206"/>
                    <a:gd name="T5" fmla="*/ 0 h 235"/>
                    <a:gd name="T6" fmla="*/ 206 w 206"/>
                    <a:gd name="T7" fmla="*/ 216 h 235"/>
                    <a:gd name="T8" fmla="*/ 183 w 206"/>
                    <a:gd name="T9" fmla="*/ 235 h 2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6" h="235">
                      <a:moveTo>
                        <a:pt x="183" y="235"/>
                      </a:moveTo>
                      <a:lnTo>
                        <a:pt x="0" y="20"/>
                      </a:lnTo>
                      <a:lnTo>
                        <a:pt x="23" y="0"/>
                      </a:lnTo>
                      <a:lnTo>
                        <a:pt x="206" y="216"/>
                      </a:lnTo>
                      <a:lnTo>
                        <a:pt x="183" y="235"/>
                      </a:lnTo>
                      <a:close/>
                    </a:path>
                  </a:pathLst>
                </a:custGeom>
                <a:noFill/>
                <a:ln w="1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643" name="Rectangle 642"/>
              <p:cNvSpPr>
                <a:spLocks noChangeArrowheads="1"/>
              </p:cNvSpPr>
              <p:nvPr/>
            </p:nvSpPr>
            <p:spPr bwMode="auto">
              <a:xfrm>
                <a:off x="2303940" y="1518457"/>
                <a:ext cx="399455" cy="154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Lessons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644" name="Rectangle 643"/>
              <p:cNvSpPr>
                <a:spLocks noChangeArrowheads="1"/>
              </p:cNvSpPr>
              <p:nvPr/>
            </p:nvSpPr>
            <p:spPr bwMode="auto">
              <a:xfrm>
                <a:off x="2303940" y="1716396"/>
                <a:ext cx="394375" cy="154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learned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645" name="Freeform 644"/>
              <p:cNvSpPr>
                <a:spLocks/>
              </p:cNvSpPr>
              <p:nvPr/>
            </p:nvSpPr>
            <p:spPr bwMode="auto">
              <a:xfrm>
                <a:off x="4157226" y="1896817"/>
                <a:ext cx="425656" cy="381865"/>
              </a:xfrm>
              <a:custGeom>
                <a:avLst/>
                <a:gdLst>
                  <a:gd name="T0" fmla="*/ 2147483647 w 243"/>
                  <a:gd name="T1" fmla="*/ 2147483647 h 195"/>
                  <a:gd name="T2" fmla="*/ 2147483647 w 243"/>
                  <a:gd name="T3" fmla="*/ 2147483647 h 195"/>
                  <a:gd name="T4" fmla="*/ 0 w 243"/>
                  <a:gd name="T5" fmla="*/ 2147483647 h 195"/>
                  <a:gd name="T6" fmla="*/ 2147483647 w 243"/>
                  <a:gd name="T7" fmla="*/ 0 h 195"/>
                  <a:gd name="T8" fmla="*/ 2147483647 w 243"/>
                  <a:gd name="T9" fmla="*/ 2147483647 h 1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43" h="195">
                    <a:moveTo>
                      <a:pt x="243" y="24"/>
                    </a:moveTo>
                    <a:lnTo>
                      <a:pt x="18" y="195"/>
                    </a:lnTo>
                    <a:lnTo>
                      <a:pt x="0" y="171"/>
                    </a:lnTo>
                    <a:lnTo>
                      <a:pt x="225" y="0"/>
                    </a:lnTo>
                    <a:lnTo>
                      <a:pt x="243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46" name="Freeform 645"/>
              <p:cNvSpPr>
                <a:spLocks/>
              </p:cNvSpPr>
              <p:nvPr/>
            </p:nvSpPr>
            <p:spPr bwMode="auto">
              <a:xfrm>
                <a:off x="4471611" y="2908120"/>
                <a:ext cx="497474" cy="71818"/>
              </a:xfrm>
              <a:custGeom>
                <a:avLst/>
                <a:gdLst>
                  <a:gd name="T0" fmla="*/ 2147483647 w 284"/>
                  <a:gd name="T1" fmla="*/ 2147483647 h 41"/>
                  <a:gd name="T2" fmla="*/ 2147483647 w 284"/>
                  <a:gd name="T3" fmla="*/ 2147483647 h 41"/>
                  <a:gd name="T4" fmla="*/ 0 w 284"/>
                  <a:gd name="T5" fmla="*/ 2147483647 h 41"/>
                  <a:gd name="T6" fmla="*/ 2147483647 w 284"/>
                  <a:gd name="T7" fmla="*/ 0 h 41"/>
                  <a:gd name="T8" fmla="*/ 2147483647 w 284"/>
                  <a:gd name="T9" fmla="*/ 2147483647 h 4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84" h="41">
                    <a:moveTo>
                      <a:pt x="284" y="30"/>
                    </a:moveTo>
                    <a:lnTo>
                      <a:pt x="1" y="41"/>
                    </a:lnTo>
                    <a:lnTo>
                      <a:pt x="0" y="11"/>
                    </a:lnTo>
                    <a:lnTo>
                      <a:pt x="282" y="0"/>
                    </a:lnTo>
                    <a:lnTo>
                      <a:pt x="284" y="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39" name="Group 38"/>
            <p:cNvGrpSpPr>
              <a:grpSpLocks/>
            </p:cNvGrpSpPr>
            <p:nvPr/>
          </p:nvGrpSpPr>
          <p:grpSpPr bwMode="auto">
            <a:xfrm>
              <a:off x="3962400" y="3152775"/>
              <a:ext cx="1276350" cy="368300"/>
              <a:chOff x="3962400" y="3152775"/>
              <a:chExt cx="1275216" cy="457186"/>
            </a:xfrm>
          </p:grpSpPr>
          <p:grpSp>
            <p:nvGrpSpPr>
              <p:cNvPr id="563" name="Group 562"/>
              <p:cNvGrpSpPr>
                <a:grpSpLocks/>
              </p:cNvGrpSpPr>
              <p:nvPr/>
            </p:nvGrpSpPr>
            <p:grpSpPr bwMode="auto">
              <a:xfrm>
                <a:off x="3962400" y="3152775"/>
                <a:ext cx="1275216" cy="457186"/>
                <a:chOff x="3962400" y="3152775"/>
                <a:chExt cx="728" cy="261"/>
              </a:xfrm>
            </p:grpSpPr>
            <p:sp>
              <p:nvSpPr>
                <p:cNvPr id="565" name="Rectangle 564"/>
                <p:cNvSpPr>
                  <a:spLocks noChangeArrowheads="1"/>
                </p:cNvSpPr>
                <p:nvPr/>
              </p:nvSpPr>
              <p:spPr bwMode="auto">
                <a:xfrm>
                  <a:off x="3962409" y="3152791"/>
                  <a:ext cx="719" cy="245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6" name="Rectangle 565"/>
                <p:cNvSpPr>
                  <a:spLocks noChangeArrowheads="1"/>
                </p:cNvSpPr>
                <p:nvPr/>
              </p:nvSpPr>
              <p:spPr bwMode="auto">
                <a:xfrm>
                  <a:off x="3962400" y="3152775"/>
                  <a:ext cx="720" cy="13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7" name="Rectangle 566"/>
                <p:cNvSpPr>
                  <a:spLocks noChangeArrowheads="1"/>
                </p:cNvSpPr>
                <p:nvPr/>
              </p:nvSpPr>
              <p:spPr bwMode="auto">
                <a:xfrm>
                  <a:off x="3962400" y="3152788"/>
                  <a:ext cx="720" cy="7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8" name="Rectangle 567"/>
                <p:cNvSpPr>
                  <a:spLocks noChangeArrowheads="1"/>
                </p:cNvSpPr>
                <p:nvPr/>
              </p:nvSpPr>
              <p:spPr bwMode="auto">
                <a:xfrm>
                  <a:off x="3962400" y="3152795"/>
                  <a:ext cx="720" cy="5"/>
                </a:xfrm>
                <a:prstGeom prst="rect">
                  <a:avLst/>
                </a:prstGeom>
                <a:solidFill>
                  <a:srgbClr val="FABD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9" name="Rectangle 568"/>
                <p:cNvSpPr>
                  <a:spLocks noChangeArrowheads="1"/>
                </p:cNvSpPr>
                <p:nvPr/>
              </p:nvSpPr>
              <p:spPr bwMode="auto">
                <a:xfrm>
                  <a:off x="3962400" y="3152800"/>
                  <a:ext cx="720" cy="5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0" name="Rectangle 569"/>
                <p:cNvSpPr>
                  <a:spLocks noChangeArrowheads="1"/>
                </p:cNvSpPr>
                <p:nvPr/>
              </p:nvSpPr>
              <p:spPr bwMode="auto">
                <a:xfrm>
                  <a:off x="3962400" y="3152805"/>
                  <a:ext cx="720" cy="5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1" name="Rectangle 570"/>
                <p:cNvSpPr>
                  <a:spLocks noChangeArrowheads="1"/>
                </p:cNvSpPr>
                <p:nvPr/>
              </p:nvSpPr>
              <p:spPr bwMode="auto">
                <a:xfrm>
                  <a:off x="3962400" y="3152810"/>
                  <a:ext cx="720" cy="3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2" name="Rectangle 571"/>
                <p:cNvSpPr>
                  <a:spLocks noChangeArrowheads="1"/>
                </p:cNvSpPr>
                <p:nvPr/>
              </p:nvSpPr>
              <p:spPr bwMode="auto">
                <a:xfrm>
                  <a:off x="3962400" y="3152813"/>
                  <a:ext cx="720" cy="3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3" name="Rectangle 572"/>
                <p:cNvSpPr>
                  <a:spLocks noChangeArrowheads="1"/>
                </p:cNvSpPr>
                <p:nvPr/>
              </p:nvSpPr>
              <p:spPr bwMode="auto">
                <a:xfrm>
                  <a:off x="3962400" y="3152816"/>
                  <a:ext cx="720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4" name="Rectangle 573"/>
                <p:cNvSpPr>
                  <a:spLocks noChangeArrowheads="1"/>
                </p:cNvSpPr>
                <p:nvPr/>
              </p:nvSpPr>
              <p:spPr bwMode="auto">
                <a:xfrm>
                  <a:off x="3962400" y="3152820"/>
                  <a:ext cx="720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5" name="Rectangle 574"/>
                <p:cNvSpPr>
                  <a:spLocks noChangeArrowheads="1"/>
                </p:cNvSpPr>
                <p:nvPr/>
              </p:nvSpPr>
              <p:spPr bwMode="auto">
                <a:xfrm>
                  <a:off x="3962400" y="3152823"/>
                  <a:ext cx="720" cy="3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6" name="Rectangle 575"/>
                <p:cNvSpPr>
                  <a:spLocks noChangeArrowheads="1"/>
                </p:cNvSpPr>
                <p:nvPr/>
              </p:nvSpPr>
              <p:spPr bwMode="auto">
                <a:xfrm>
                  <a:off x="3962400" y="3152826"/>
                  <a:ext cx="720" cy="3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7" name="Rectangle 576"/>
                <p:cNvSpPr>
                  <a:spLocks noChangeArrowheads="1"/>
                </p:cNvSpPr>
                <p:nvPr/>
              </p:nvSpPr>
              <p:spPr bwMode="auto">
                <a:xfrm>
                  <a:off x="3962400" y="3152829"/>
                  <a:ext cx="720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8" name="Rectangle 577"/>
                <p:cNvSpPr>
                  <a:spLocks noChangeArrowheads="1"/>
                </p:cNvSpPr>
                <p:nvPr/>
              </p:nvSpPr>
              <p:spPr bwMode="auto">
                <a:xfrm>
                  <a:off x="3962400" y="3152831"/>
                  <a:ext cx="720" cy="1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9" name="Rectangle 578"/>
                <p:cNvSpPr>
                  <a:spLocks noChangeArrowheads="1"/>
                </p:cNvSpPr>
                <p:nvPr/>
              </p:nvSpPr>
              <p:spPr bwMode="auto">
                <a:xfrm>
                  <a:off x="3962400" y="3152832"/>
                  <a:ext cx="720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0" name="Rectangle 579"/>
                <p:cNvSpPr>
                  <a:spLocks noChangeArrowheads="1"/>
                </p:cNvSpPr>
                <p:nvPr/>
              </p:nvSpPr>
              <p:spPr bwMode="auto">
                <a:xfrm>
                  <a:off x="3962400" y="3152834"/>
                  <a:ext cx="720" cy="3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1" name="Rectangle 580"/>
                <p:cNvSpPr>
                  <a:spLocks noChangeArrowheads="1"/>
                </p:cNvSpPr>
                <p:nvPr/>
              </p:nvSpPr>
              <p:spPr bwMode="auto">
                <a:xfrm>
                  <a:off x="3962400" y="3152837"/>
                  <a:ext cx="720" cy="2"/>
                </a:xfrm>
                <a:prstGeom prst="rect">
                  <a:avLst/>
                </a:prstGeom>
                <a:solidFill>
                  <a:srgbClr val="F9AB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2" name="Rectangle 581"/>
                <p:cNvSpPr>
                  <a:spLocks noChangeArrowheads="1"/>
                </p:cNvSpPr>
                <p:nvPr/>
              </p:nvSpPr>
              <p:spPr bwMode="auto">
                <a:xfrm>
                  <a:off x="3962400" y="3152839"/>
                  <a:ext cx="720" cy="2"/>
                </a:xfrm>
                <a:prstGeom prst="rect">
                  <a:avLst/>
                </a:prstGeom>
                <a:solidFill>
                  <a:srgbClr val="F8AA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3" name="Rectangle 582"/>
                <p:cNvSpPr>
                  <a:spLocks noChangeArrowheads="1"/>
                </p:cNvSpPr>
                <p:nvPr/>
              </p:nvSpPr>
              <p:spPr bwMode="auto">
                <a:xfrm>
                  <a:off x="3962400" y="3152841"/>
                  <a:ext cx="720" cy="3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4" name="Rectangle 583"/>
                <p:cNvSpPr>
                  <a:spLocks noChangeArrowheads="1"/>
                </p:cNvSpPr>
                <p:nvPr/>
              </p:nvSpPr>
              <p:spPr bwMode="auto">
                <a:xfrm>
                  <a:off x="3962400" y="3152844"/>
                  <a:ext cx="720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5" name="Rectangle 584"/>
                <p:cNvSpPr>
                  <a:spLocks noChangeArrowheads="1"/>
                </p:cNvSpPr>
                <p:nvPr/>
              </p:nvSpPr>
              <p:spPr bwMode="auto">
                <a:xfrm>
                  <a:off x="3962400" y="3152846"/>
                  <a:ext cx="720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6" name="Rectangle 585"/>
                <p:cNvSpPr>
                  <a:spLocks noChangeArrowheads="1"/>
                </p:cNvSpPr>
                <p:nvPr/>
              </p:nvSpPr>
              <p:spPr bwMode="auto">
                <a:xfrm>
                  <a:off x="3962400" y="3152848"/>
                  <a:ext cx="720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7" name="Rectangle 586"/>
                <p:cNvSpPr>
                  <a:spLocks noChangeArrowheads="1"/>
                </p:cNvSpPr>
                <p:nvPr/>
              </p:nvSpPr>
              <p:spPr bwMode="auto">
                <a:xfrm>
                  <a:off x="3962400" y="3152850"/>
                  <a:ext cx="720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8" name="Rectangle 587"/>
                <p:cNvSpPr>
                  <a:spLocks noChangeArrowheads="1"/>
                </p:cNvSpPr>
                <p:nvPr/>
              </p:nvSpPr>
              <p:spPr bwMode="auto">
                <a:xfrm>
                  <a:off x="3962400" y="3152852"/>
                  <a:ext cx="720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9" name="Rectangle 588"/>
                <p:cNvSpPr>
                  <a:spLocks noChangeArrowheads="1"/>
                </p:cNvSpPr>
                <p:nvPr/>
              </p:nvSpPr>
              <p:spPr bwMode="auto">
                <a:xfrm>
                  <a:off x="3962400" y="3152854"/>
                  <a:ext cx="720" cy="1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0" name="Rectangle 589"/>
                <p:cNvSpPr>
                  <a:spLocks noChangeArrowheads="1"/>
                </p:cNvSpPr>
                <p:nvPr/>
              </p:nvSpPr>
              <p:spPr bwMode="auto">
                <a:xfrm>
                  <a:off x="3962400" y="3152855"/>
                  <a:ext cx="720" cy="2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1" name="Rectangle 590"/>
                <p:cNvSpPr>
                  <a:spLocks noChangeArrowheads="1"/>
                </p:cNvSpPr>
                <p:nvPr/>
              </p:nvSpPr>
              <p:spPr bwMode="auto">
                <a:xfrm>
                  <a:off x="3962400" y="3152857"/>
                  <a:ext cx="720" cy="3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2" name="Rectangle 591"/>
                <p:cNvSpPr>
                  <a:spLocks noChangeArrowheads="1"/>
                </p:cNvSpPr>
                <p:nvPr/>
              </p:nvSpPr>
              <p:spPr bwMode="auto">
                <a:xfrm>
                  <a:off x="3962400" y="3152860"/>
                  <a:ext cx="720" cy="2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3" name="Rectangle 592"/>
                <p:cNvSpPr>
                  <a:spLocks noChangeArrowheads="1"/>
                </p:cNvSpPr>
                <p:nvPr/>
              </p:nvSpPr>
              <p:spPr bwMode="auto">
                <a:xfrm>
                  <a:off x="3962400" y="3152862"/>
                  <a:ext cx="720" cy="2"/>
                </a:xfrm>
                <a:prstGeom prst="rect">
                  <a:avLst/>
                </a:prstGeom>
                <a:solidFill>
                  <a:srgbClr val="F89E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4" name="Rectangle 593"/>
                <p:cNvSpPr>
                  <a:spLocks noChangeArrowheads="1"/>
                </p:cNvSpPr>
                <p:nvPr/>
              </p:nvSpPr>
              <p:spPr bwMode="auto">
                <a:xfrm>
                  <a:off x="3962400" y="3152864"/>
                  <a:ext cx="720" cy="3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5" name="Rectangle 594"/>
                <p:cNvSpPr>
                  <a:spLocks noChangeArrowheads="1"/>
                </p:cNvSpPr>
                <p:nvPr/>
              </p:nvSpPr>
              <p:spPr bwMode="auto">
                <a:xfrm>
                  <a:off x="3962400" y="3152867"/>
                  <a:ext cx="720" cy="2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6" name="Rectangle 595"/>
                <p:cNvSpPr>
                  <a:spLocks noChangeArrowheads="1"/>
                </p:cNvSpPr>
                <p:nvPr/>
              </p:nvSpPr>
              <p:spPr bwMode="auto">
                <a:xfrm>
                  <a:off x="3962400" y="3152869"/>
                  <a:ext cx="720" cy="3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7" name="Rectangle 596"/>
                <p:cNvSpPr>
                  <a:spLocks noChangeArrowheads="1"/>
                </p:cNvSpPr>
                <p:nvPr/>
              </p:nvSpPr>
              <p:spPr bwMode="auto">
                <a:xfrm>
                  <a:off x="3962400" y="3152872"/>
                  <a:ext cx="720" cy="4"/>
                </a:xfrm>
                <a:prstGeom prst="rect">
                  <a:avLst/>
                </a:prstGeom>
                <a:solidFill>
                  <a:srgbClr val="F79B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8" name="Rectangle 597"/>
                <p:cNvSpPr>
                  <a:spLocks noChangeArrowheads="1"/>
                </p:cNvSpPr>
                <p:nvPr/>
              </p:nvSpPr>
              <p:spPr bwMode="auto">
                <a:xfrm>
                  <a:off x="3962400" y="3152876"/>
                  <a:ext cx="720" cy="3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99" name="Rectangle 598"/>
                <p:cNvSpPr>
                  <a:spLocks noChangeArrowheads="1"/>
                </p:cNvSpPr>
                <p:nvPr/>
              </p:nvSpPr>
              <p:spPr bwMode="auto">
                <a:xfrm>
                  <a:off x="3962400" y="3152879"/>
                  <a:ext cx="720" cy="2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0" name="Rectangle 599"/>
                <p:cNvSpPr>
                  <a:spLocks noChangeArrowheads="1"/>
                </p:cNvSpPr>
                <p:nvPr/>
              </p:nvSpPr>
              <p:spPr bwMode="auto">
                <a:xfrm>
                  <a:off x="3962400" y="3152881"/>
                  <a:ext cx="720" cy="6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1" name="Rectangle 600"/>
                <p:cNvSpPr>
                  <a:spLocks noChangeArrowheads="1"/>
                </p:cNvSpPr>
                <p:nvPr/>
              </p:nvSpPr>
              <p:spPr bwMode="auto">
                <a:xfrm>
                  <a:off x="3962400" y="3152887"/>
                  <a:ext cx="720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2" name="Rectangle 601"/>
                <p:cNvSpPr>
                  <a:spLocks noChangeArrowheads="1"/>
                </p:cNvSpPr>
                <p:nvPr/>
              </p:nvSpPr>
              <p:spPr bwMode="auto">
                <a:xfrm>
                  <a:off x="3962400" y="3152892"/>
                  <a:ext cx="720" cy="14"/>
                </a:xfrm>
                <a:prstGeom prst="rect">
                  <a:avLst/>
                </a:prstGeom>
                <a:solidFill>
                  <a:srgbClr val="F796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3" name="Rectangle 602"/>
                <p:cNvSpPr>
                  <a:spLocks noChangeArrowheads="1"/>
                </p:cNvSpPr>
                <p:nvPr/>
              </p:nvSpPr>
              <p:spPr bwMode="auto">
                <a:xfrm>
                  <a:off x="3962400" y="3152906"/>
                  <a:ext cx="720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4" name="Rectangle 603"/>
                <p:cNvSpPr>
                  <a:spLocks noChangeArrowheads="1"/>
                </p:cNvSpPr>
                <p:nvPr/>
              </p:nvSpPr>
              <p:spPr bwMode="auto">
                <a:xfrm>
                  <a:off x="3962400" y="3152911"/>
                  <a:ext cx="720" cy="5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5" name="Rectangle 604"/>
                <p:cNvSpPr>
                  <a:spLocks noChangeArrowheads="1"/>
                </p:cNvSpPr>
                <p:nvPr/>
              </p:nvSpPr>
              <p:spPr bwMode="auto">
                <a:xfrm>
                  <a:off x="3962400" y="3152916"/>
                  <a:ext cx="720" cy="3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6" name="Rectangle 605"/>
                <p:cNvSpPr>
                  <a:spLocks noChangeArrowheads="1"/>
                </p:cNvSpPr>
                <p:nvPr/>
              </p:nvSpPr>
              <p:spPr bwMode="auto">
                <a:xfrm>
                  <a:off x="3962400" y="3152919"/>
                  <a:ext cx="720" cy="3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7" name="Rectangle 606"/>
                <p:cNvSpPr>
                  <a:spLocks noChangeArrowheads="1"/>
                </p:cNvSpPr>
                <p:nvPr/>
              </p:nvSpPr>
              <p:spPr bwMode="auto">
                <a:xfrm>
                  <a:off x="3962400" y="3152922"/>
                  <a:ext cx="720" cy="4"/>
                </a:xfrm>
                <a:prstGeom prst="rect">
                  <a:avLst/>
                </a:prstGeom>
                <a:solidFill>
                  <a:srgbClr val="F79A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8" name="Rectangle 607"/>
                <p:cNvSpPr>
                  <a:spLocks noChangeArrowheads="1"/>
                </p:cNvSpPr>
                <p:nvPr/>
              </p:nvSpPr>
              <p:spPr bwMode="auto">
                <a:xfrm>
                  <a:off x="3962400" y="3152926"/>
                  <a:ext cx="720" cy="1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09" name="Rectangle 608"/>
                <p:cNvSpPr>
                  <a:spLocks noChangeArrowheads="1"/>
                </p:cNvSpPr>
                <p:nvPr/>
              </p:nvSpPr>
              <p:spPr bwMode="auto">
                <a:xfrm>
                  <a:off x="3962400" y="3152927"/>
                  <a:ext cx="720" cy="3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0" name="Rectangle 609"/>
                <p:cNvSpPr>
                  <a:spLocks noChangeArrowheads="1"/>
                </p:cNvSpPr>
                <p:nvPr/>
              </p:nvSpPr>
              <p:spPr bwMode="auto">
                <a:xfrm>
                  <a:off x="3962400" y="3152930"/>
                  <a:ext cx="720" cy="3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1" name="Rectangle 610"/>
                <p:cNvSpPr>
                  <a:spLocks noChangeArrowheads="1"/>
                </p:cNvSpPr>
                <p:nvPr/>
              </p:nvSpPr>
              <p:spPr bwMode="auto">
                <a:xfrm>
                  <a:off x="3962400" y="3152933"/>
                  <a:ext cx="720" cy="2"/>
                </a:xfrm>
                <a:prstGeom prst="rect">
                  <a:avLst/>
                </a:prstGeom>
                <a:solidFill>
                  <a:srgbClr val="F89F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2" name="Rectangle 611"/>
                <p:cNvSpPr>
                  <a:spLocks noChangeArrowheads="1"/>
                </p:cNvSpPr>
                <p:nvPr/>
              </p:nvSpPr>
              <p:spPr bwMode="auto">
                <a:xfrm>
                  <a:off x="3962400" y="3152935"/>
                  <a:ext cx="720" cy="2"/>
                </a:xfrm>
                <a:prstGeom prst="rect">
                  <a:avLst/>
                </a:prstGeom>
                <a:solidFill>
                  <a:srgbClr val="F8A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3" name="Rectangle 612"/>
                <p:cNvSpPr>
                  <a:spLocks noChangeArrowheads="1"/>
                </p:cNvSpPr>
                <p:nvPr/>
              </p:nvSpPr>
              <p:spPr bwMode="auto">
                <a:xfrm>
                  <a:off x="3962400" y="3152937"/>
                  <a:ext cx="720" cy="2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4" name="Rectangle 613"/>
                <p:cNvSpPr>
                  <a:spLocks noChangeArrowheads="1"/>
                </p:cNvSpPr>
                <p:nvPr/>
              </p:nvSpPr>
              <p:spPr bwMode="auto">
                <a:xfrm>
                  <a:off x="3962400" y="3152939"/>
                  <a:ext cx="720" cy="3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5" name="Rectangle 614"/>
                <p:cNvSpPr>
                  <a:spLocks noChangeArrowheads="1"/>
                </p:cNvSpPr>
                <p:nvPr/>
              </p:nvSpPr>
              <p:spPr bwMode="auto">
                <a:xfrm>
                  <a:off x="3962400" y="3152942"/>
                  <a:ext cx="720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6" name="Rectangle 615"/>
                <p:cNvSpPr>
                  <a:spLocks noChangeArrowheads="1"/>
                </p:cNvSpPr>
                <p:nvPr/>
              </p:nvSpPr>
              <p:spPr bwMode="auto">
                <a:xfrm>
                  <a:off x="3962400" y="3152944"/>
                  <a:ext cx="720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7" name="Rectangle 616"/>
                <p:cNvSpPr>
                  <a:spLocks noChangeArrowheads="1"/>
                </p:cNvSpPr>
                <p:nvPr/>
              </p:nvSpPr>
              <p:spPr bwMode="auto">
                <a:xfrm>
                  <a:off x="3962400" y="3152946"/>
                  <a:ext cx="720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8" name="Rectangle 617"/>
                <p:cNvSpPr>
                  <a:spLocks noChangeArrowheads="1"/>
                </p:cNvSpPr>
                <p:nvPr/>
              </p:nvSpPr>
              <p:spPr bwMode="auto">
                <a:xfrm>
                  <a:off x="3962400" y="3152948"/>
                  <a:ext cx="720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19" name="Rectangle 618"/>
                <p:cNvSpPr>
                  <a:spLocks noChangeArrowheads="1"/>
                </p:cNvSpPr>
                <p:nvPr/>
              </p:nvSpPr>
              <p:spPr bwMode="auto">
                <a:xfrm>
                  <a:off x="3962400" y="3152950"/>
                  <a:ext cx="720" cy="2"/>
                </a:xfrm>
                <a:prstGeom prst="rect">
                  <a:avLst/>
                </a:prstGeom>
                <a:solidFill>
                  <a:srgbClr val="F8A7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0" name="Rectangle 619"/>
                <p:cNvSpPr>
                  <a:spLocks noChangeArrowheads="1"/>
                </p:cNvSpPr>
                <p:nvPr/>
              </p:nvSpPr>
              <p:spPr bwMode="auto">
                <a:xfrm>
                  <a:off x="3962400" y="3152952"/>
                  <a:ext cx="720" cy="2"/>
                </a:xfrm>
                <a:prstGeom prst="rect">
                  <a:avLst/>
                </a:prstGeom>
                <a:solidFill>
                  <a:srgbClr val="F8A96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1" name="Rectangle 620"/>
                <p:cNvSpPr>
                  <a:spLocks noChangeArrowheads="1"/>
                </p:cNvSpPr>
                <p:nvPr/>
              </p:nvSpPr>
              <p:spPr bwMode="auto">
                <a:xfrm>
                  <a:off x="3962400" y="3152954"/>
                  <a:ext cx="720" cy="2"/>
                </a:xfrm>
                <a:prstGeom prst="rect">
                  <a:avLst/>
                </a:prstGeom>
                <a:solidFill>
                  <a:srgbClr val="F8AA6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2" name="Rectangle 621"/>
                <p:cNvSpPr>
                  <a:spLocks noChangeArrowheads="1"/>
                </p:cNvSpPr>
                <p:nvPr/>
              </p:nvSpPr>
              <p:spPr bwMode="auto">
                <a:xfrm>
                  <a:off x="3962400" y="3152956"/>
                  <a:ext cx="720" cy="2"/>
                </a:xfrm>
                <a:prstGeom prst="rect">
                  <a:avLst/>
                </a:prstGeom>
                <a:solidFill>
                  <a:srgbClr val="F8AB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3" name="Rectangle 622"/>
                <p:cNvSpPr>
                  <a:spLocks noChangeArrowheads="1"/>
                </p:cNvSpPr>
                <p:nvPr/>
              </p:nvSpPr>
              <p:spPr bwMode="auto">
                <a:xfrm>
                  <a:off x="3962400" y="3152958"/>
                  <a:ext cx="720" cy="3"/>
                </a:xfrm>
                <a:prstGeom prst="rect">
                  <a:avLst/>
                </a:prstGeom>
                <a:solidFill>
                  <a:srgbClr val="F9AC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4" name="Rectangle 623"/>
                <p:cNvSpPr>
                  <a:spLocks noChangeArrowheads="1"/>
                </p:cNvSpPr>
                <p:nvPr/>
              </p:nvSpPr>
              <p:spPr bwMode="auto">
                <a:xfrm>
                  <a:off x="3962400" y="3152961"/>
                  <a:ext cx="720" cy="2"/>
                </a:xfrm>
                <a:prstGeom prst="rect">
                  <a:avLst/>
                </a:prstGeom>
                <a:solidFill>
                  <a:srgbClr val="F9AD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5" name="Rectangle 624"/>
                <p:cNvSpPr>
                  <a:spLocks noChangeArrowheads="1"/>
                </p:cNvSpPr>
                <p:nvPr/>
              </p:nvSpPr>
              <p:spPr bwMode="auto">
                <a:xfrm>
                  <a:off x="3962400" y="3152963"/>
                  <a:ext cx="720" cy="2"/>
                </a:xfrm>
                <a:prstGeom prst="rect">
                  <a:avLst/>
                </a:prstGeom>
                <a:solidFill>
                  <a:srgbClr val="F9AE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6" name="Rectangle 625"/>
                <p:cNvSpPr>
                  <a:spLocks noChangeArrowheads="1"/>
                </p:cNvSpPr>
                <p:nvPr/>
              </p:nvSpPr>
              <p:spPr bwMode="auto">
                <a:xfrm>
                  <a:off x="3962400" y="3152965"/>
                  <a:ext cx="720" cy="3"/>
                </a:xfrm>
                <a:prstGeom prst="rect">
                  <a:avLst/>
                </a:prstGeom>
                <a:solidFill>
                  <a:srgbClr val="F9AF7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7" name="Rectangle 626"/>
                <p:cNvSpPr>
                  <a:spLocks noChangeArrowheads="1"/>
                </p:cNvSpPr>
                <p:nvPr/>
              </p:nvSpPr>
              <p:spPr bwMode="auto">
                <a:xfrm>
                  <a:off x="3962400" y="3152968"/>
                  <a:ext cx="720" cy="2"/>
                </a:xfrm>
                <a:prstGeom prst="rect">
                  <a:avLst/>
                </a:prstGeom>
                <a:solidFill>
                  <a:srgbClr val="F9B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8" name="Rectangle 627"/>
                <p:cNvSpPr>
                  <a:spLocks noChangeArrowheads="1"/>
                </p:cNvSpPr>
                <p:nvPr/>
              </p:nvSpPr>
              <p:spPr bwMode="auto">
                <a:xfrm>
                  <a:off x="3962400" y="3152970"/>
                  <a:ext cx="720" cy="3"/>
                </a:xfrm>
                <a:prstGeom prst="rect">
                  <a:avLst/>
                </a:prstGeom>
                <a:solidFill>
                  <a:srgbClr val="F9B27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29" name="Rectangle 628"/>
                <p:cNvSpPr>
                  <a:spLocks noChangeArrowheads="1"/>
                </p:cNvSpPr>
                <p:nvPr/>
              </p:nvSpPr>
              <p:spPr bwMode="auto">
                <a:xfrm>
                  <a:off x="3962400" y="3152973"/>
                  <a:ext cx="720" cy="2"/>
                </a:xfrm>
                <a:prstGeom prst="rect">
                  <a:avLst/>
                </a:prstGeom>
                <a:solidFill>
                  <a:srgbClr val="F9B37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0" name="Rectangle 629"/>
                <p:cNvSpPr>
                  <a:spLocks noChangeArrowheads="1"/>
                </p:cNvSpPr>
                <p:nvPr/>
              </p:nvSpPr>
              <p:spPr bwMode="auto">
                <a:xfrm>
                  <a:off x="3962400" y="3152975"/>
                  <a:ext cx="720" cy="4"/>
                </a:xfrm>
                <a:prstGeom prst="rect">
                  <a:avLst/>
                </a:prstGeom>
                <a:solidFill>
                  <a:srgbClr val="F9B5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1" name="Rectangle 630"/>
                <p:cNvSpPr>
                  <a:spLocks noChangeArrowheads="1"/>
                </p:cNvSpPr>
                <p:nvPr/>
              </p:nvSpPr>
              <p:spPr bwMode="auto">
                <a:xfrm>
                  <a:off x="3962400" y="3152979"/>
                  <a:ext cx="720" cy="4"/>
                </a:xfrm>
                <a:prstGeom prst="rect">
                  <a:avLst/>
                </a:prstGeom>
                <a:solidFill>
                  <a:srgbClr val="F9B68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2" name="Rectangle 631"/>
                <p:cNvSpPr>
                  <a:spLocks noChangeArrowheads="1"/>
                </p:cNvSpPr>
                <p:nvPr/>
              </p:nvSpPr>
              <p:spPr bwMode="auto">
                <a:xfrm>
                  <a:off x="3962400" y="3152983"/>
                  <a:ext cx="720" cy="2"/>
                </a:xfrm>
                <a:prstGeom prst="rect">
                  <a:avLst/>
                </a:prstGeom>
                <a:solidFill>
                  <a:srgbClr val="F9B88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3" name="Rectangle 632"/>
                <p:cNvSpPr>
                  <a:spLocks noChangeArrowheads="1"/>
                </p:cNvSpPr>
                <p:nvPr/>
              </p:nvSpPr>
              <p:spPr bwMode="auto">
                <a:xfrm>
                  <a:off x="3962400" y="3152985"/>
                  <a:ext cx="720" cy="6"/>
                </a:xfrm>
                <a:prstGeom prst="rect">
                  <a:avLst/>
                </a:prstGeom>
                <a:solidFill>
                  <a:srgbClr val="F9B98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4" name="Rectangle 633"/>
                <p:cNvSpPr>
                  <a:spLocks noChangeArrowheads="1"/>
                </p:cNvSpPr>
                <p:nvPr/>
              </p:nvSpPr>
              <p:spPr bwMode="auto">
                <a:xfrm>
                  <a:off x="3962400" y="3152991"/>
                  <a:ext cx="720" cy="5"/>
                </a:xfrm>
                <a:prstGeom prst="rect">
                  <a:avLst/>
                </a:prstGeom>
                <a:solidFill>
                  <a:srgbClr val="FABA8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5" name="Rectangle 634"/>
                <p:cNvSpPr>
                  <a:spLocks noChangeArrowheads="1"/>
                </p:cNvSpPr>
                <p:nvPr/>
              </p:nvSpPr>
              <p:spPr bwMode="auto">
                <a:xfrm>
                  <a:off x="3962400" y="3152996"/>
                  <a:ext cx="720" cy="4"/>
                </a:xfrm>
                <a:prstGeom prst="rect">
                  <a:avLst/>
                </a:prstGeom>
                <a:solidFill>
                  <a:srgbClr val="FABC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6" name="Rectangle 635"/>
                <p:cNvSpPr>
                  <a:spLocks noChangeArrowheads="1"/>
                </p:cNvSpPr>
                <p:nvPr/>
              </p:nvSpPr>
              <p:spPr bwMode="auto">
                <a:xfrm>
                  <a:off x="3962400" y="3153000"/>
                  <a:ext cx="720" cy="7"/>
                </a:xfrm>
                <a:prstGeom prst="rect">
                  <a:avLst/>
                </a:prstGeom>
                <a:solidFill>
                  <a:srgbClr val="FABD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7" name="Rectangle 636"/>
                <p:cNvSpPr>
                  <a:spLocks noChangeArrowheads="1"/>
                </p:cNvSpPr>
                <p:nvPr/>
              </p:nvSpPr>
              <p:spPr bwMode="auto">
                <a:xfrm>
                  <a:off x="3962400" y="3153007"/>
                  <a:ext cx="720" cy="14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8" name="Rectangle 637"/>
                <p:cNvSpPr>
                  <a:spLocks noChangeArrowheads="1"/>
                </p:cNvSpPr>
                <p:nvPr/>
              </p:nvSpPr>
              <p:spPr bwMode="auto">
                <a:xfrm>
                  <a:off x="3962401" y="3152775"/>
                  <a:ext cx="719" cy="245"/>
                </a:xfrm>
                <a:prstGeom prst="rect">
                  <a:avLst/>
                </a:prstGeom>
                <a:noFill/>
                <a:ln w="8" cap="rnd">
                  <a:solidFill>
                    <a:srgbClr val="F79646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64" name="Rectangle 563"/>
              <p:cNvSpPr>
                <a:spLocks noChangeArrowheads="1"/>
              </p:cNvSpPr>
              <p:nvPr/>
            </p:nvSpPr>
            <p:spPr bwMode="auto">
              <a:xfrm>
                <a:off x="3971127" y="3159781"/>
                <a:ext cx="1113435" cy="2695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FORMULATION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4416425" y="3143250"/>
              <a:ext cx="3175" cy="184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endParaRPr lang="en-GB"/>
            </a:p>
          </p:txBody>
        </p:sp>
        <p:grpSp>
          <p:nvGrpSpPr>
            <p:cNvPr id="41" name="Group 40"/>
            <p:cNvGrpSpPr>
              <a:grpSpLocks/>
            </p:cNvGrpSpPr>
            <p:nvPr/>
          </p:nvGrpSpPr>
          <p:grpSpPr bwMode="auto">
            <a:xfrm>
              <a:off x="1428750" y="2170113"/>
              <a:ext cx="887413" cy="414337"/>
              <a:chOff x="1428750" y="2170113"/>
              <a:chExt cx="888097" cy="413394"/>
            </a:xfrm>
          </p:grpSpPr>
          <p:grpSp>
            <p:nvGrpSpPr>
              <p:cNvPr id="486" name="Group 485"/>
              <p:cNvGrpSpPr>
                <a:grpSpLocks/>
              </p:cNvGrpSpPr>
              <p:nvPr/>
            </p:nvGrpSpPr>
            <p:grpSpPr bwMode="auto">
              <a:xfrm>
                <a:off x="1428750" y="2170113"/>
                <a:ext cx="888097" cy="413394"/>
                <a:chOff x="1428750" y="2170113"/>
                <a:chExt cx="507" cy="236"/>
              </a:xfrm>
            </p:grpSpPr>
            <p:sp>
              <p:nvSpPr>
                <p:cNvPr id="488" name="Rectangle 487"/>
                <p:cNvSpPr>
                  <a:spLocks noChangeArrowheads="1"/>
                </p:cNvSpPr>
                <p:nvPr/>
              </p:nvSpPr>
              <p:spPr bwMode="auto">
                <a:xfrm>
                  <a:off x="1428759" y="2170129"/>
                  <a:ext cx="498" cy="220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89" name="Rectangle 488"/>
                <p:cNvSpPr>
                  <a:spLocks noChangeArrowheads="1"/>
                </p:cNvSpPr>
                <p:nvPr/>
              </p:nvSpPr>
              <p:spPr bwMode="auto">
                <a:xfrm>
                  <a:off x="1428750" y="2170113"/>
                  <a:ext cx="499" cy="12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0" name="Rectangle 489"/>
                <p:cNvSpPr>
                  <a:spLocks noChangeArrowheads="1"/>
                </p:cNvSpPr>
                <p:nvPr/>
              </p:nvSpPr>
              <p:spPr bwMode="auto">
                <a:xfrm>
                  <a:off x="1428750" y="2170125"/>
                  <a:ext cx="499" cy="6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1" name="Rectangle 490"/>
                <p:cNvSpPr>
                  <a:spLocks noChangeArrowheads="1"/>
                </p:cNvSpPr>
                <p:nvPr/>
              </p:nvSpPr>
              <p:spPr bwMode="auto">
                <a:xfrm>
                  <a:off x="1428750" y="2170131"/>
                  <a:ext cx="499" cy="5"/>
                </a:xfrm>
                <a:prstGeom prst="rect">
                  <a:avLst/>
                </a:prstGeom>
                <a:solidFill>
                  <a:srgbClr val="FABD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2" name="Rectangle 491"/>
                <p:cNvSpPr>
                  <a:spLocks noChangeArrowheads="1"/>
                </p:cNvSpPr>
                <p:nvPr/>
              </p:nvSpPr>
              <p:spPr bwMode="auto">
                <a:xfrm>
                  <a:off x="1428750" y="2170136"/>
                  <a:ext cx="499" cy="4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3" name="Rectangle 492"/>
                <p:cNvSpPr>
                  <a:spLocks noChangeArrowheads="1"/>
                </p:cNvSpPr>
                <p:nvPr/>
              </p:nvSpPr>
              <p:spPr bwMode="auto">
                <a:xfrm>
                  <a:off x="1428750" y="2170140"/>
                  <a:ext cx="499" cy="4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4" name="Rectangle 493"/>
                <p:cNvSpPr>
                  <a:spLocks noChangeArrowheads="1"/>
                </p:cNvSpPr>
                <p:nvPr/>
              </p:nvSpPr>
              <p:spPr bwMode="auto">
                <a:xfrm>
                  <a:off x="1428750" y="2170144"/>
                  <a:ext cx="499" cy="3"/>
                </a:xfrm>
                <a:prstGeom prst="rect">
                  <a:avLst/>
                </a:prstGeom>
                <a:solidFill>
                  <a:srgbClr val="F9B9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5" name="Rectangle 494"/>
                <p:cNvSpPr>
                  <a:spLocks noChangeArrowheads="1"/>
                </p:cNvSpPr>
                <p:nvPr/>
              </p:nvSpPr>
              <p:spPr bwMode="auto">
                <a:xfrm>
                  <a:off x="1428750" y="2170147"/>
                  <a:ext cx="499" cy="3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6" name="Rectangle 495"/>
                <p:cNvSpPr>
                  <a:spLocks noChangeArrowheads="1"/>
                </p:cNvSpPr>
                <p:nvPr/>
              </p:nvSpPr>
              <p:spPr bwMode="auto">
                <a:xfrm>
                  <a:off x="1428750" y="2170150"/>
                  <a:ext cx="499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7" name="Rectangle 496"/>
                <p:cNvSpPr>
                  <a:spLocks noChangeArrowheads="1"/>
                </p:cNvSpPr>
                <p:nvPr/>
              </p:nvSpPr>
              <p:spPr bwMode="auto">
                <a:xfrm>
                  <a:off x="1428750" y="2170154"/>
                  <a:ext cx="499" cy="2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8" name="Rectangle 497"/>
                <p:cNvSpPr>
                  <a:spLocks noChangeArrowheads="1"/>
                </p:cNvSpPr>
                <p:nvPr/>
              </p:nvSpPr>
              <p:spPr bwMode="auto">
                <a:xfrm>
                  <a:off x="1428750" y="2170156"/>
                  <a:ext cx="499" cy="3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99" name="Rectangle 498"/>
                <p:cNvSpPr>
                  <a:spLocks noChangeArrowheads="1"/>
                </p:cNvSpPr>
                <p:nvPr/>
              </p:nvSpPr>
              <p:spPr bwMode="auto">
                <a:xfrm>
                  <a:off x="1428750" y="2170159"/>
                  <a:ext cx="499" cy="2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0" name="Rectangle 499"/>
                <p:cNvSpPr>
                  <a:spLocks noChangeArrowheads="1"/>
                </p:cNvSpPr>
                <p:nvPr/>
              </p:nvSpPr>
              <p:spPr bwMode="auto">
                <a:xfrm>
                  <a:off x="1428750" y="2170161"/>
                  <a:ext cx="499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1" name="Rectangle 500"/>
                <p:cNvSpPr>
                  <a:spLocks noChangeArrowheads="1"/>
                </p:cNvSpPr>
                <p:nvPr/>
              </p:nvSpPr>
              <p:spPr bwMode="auto">
                <a:xfrm>
                  <a:off x="1428750" y="2170163"/>
                  <a:ext cx="499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2" name="Rectangle 501"/>
                <p:cNvSpPr>
                  <a:spLocks noChangeArrowheads="1"/>
                </p:cNvSpPr>
                <p:nvPr/>
              </p:nvSpPr>
              <p:spPr bwMode="auto">
                <a:xfrm>
                  <a:off x="1428750" y="2170165"/>
                  <a:ext cx="499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3" name="Rectangle 502"/>
                <p:cNvSpPr>
                  <a:spLocks noChangeArrowheads="1"/>
                </p:cNvSpPr>
                <p:nvPr/>
              </p:nvSpPr>
              <p:spPr bwMode="auto">
                <a:xfrm>
                  <a:off x="1428750" y="2170167"/>
                  <a:ext cx="499" cy="1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4" name="Rectangle 503"/>
                <p:cNvSpPr>
                  <a:spLocks noChangeArrowheads="1"/>
                </p:cNvSpPr>
                <p:nvPr/>
              </p:nvSpPr>
              <p:spPr bwMode="auto">
                <a:xfrm>
                  <a:off x="1428750" y="2170168"/>
                  <a:ext cx="499" cy="2"/>
                </a:xfrm>
                <a:prstGeom prst="rect">
                  <a:avLst/>
                </a:prstGeom>
                <a:solidFill>
                  <a:srgbClr val="F9AC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5" name="Rectangle 504"/>
                <p:cNvSpPr>
                  <a:spLocks noChangeArrowheads="1"/>
                </p:cNvSpPr>
                <p:nvPr/>
              </p:nvSpPr>
              <p:spPr bwMode="auto">
                <a:xfrm>
                  <a:off x="1428750" y="2170170"/>
                  <a:ext cx="499" cy="2"/>
                </a:xfrm>
                <a:prstGeom prst="rect">
                  <a:avLst/>
                </a:prstGeom>
                <a:solidFill>
                  <a:srgbClr val="F8AB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6" name="Rectangle 505"/>
                <p:cNvSpPr>
                  <a:spLocks noChangeArrowheads="1"/>
                </p:cNvSpPr>
                <p:nvPr/>
              </p:nvSpPr>
              <p:spPr bwMode="auto">
                <a:xfrm>
                  <a:off x="1428750" y="2170172"/>
                  <a:ext cx="499" cy="2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7" name="Rectangle 506"/>
                <p:cNvSpPr>
                  <a:spLocks noChangeArrowheads="1"/>
                </p:cNvSpPr>
                <p:nvPr/>
              </p:nvSpPr>
              <p:spPr bwMode="auto">
                <a:xfrm>
                  <a:off x="1428750" y="2170174"/>
                  <a:ext cx="499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8" name="Rectangle 507"/>
                <p:cNvSpPr>
                  <a:spLocks noChangeArrowheads="1"/>
                </p:cNvSpPr>
                <p:nvPr/>
              </p:nvSpPr>
              <p:spPr bwMode="auto">
                <a:xfrm>
                  <a:off x="1428750" y="2170176"/>
                  <a:ext cx="499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09" name="Rectangle 508"/>
                <p:cNvSpPr>
                  <a:spLocks noChangeArrowheads="1"/>
                </p:cNvSpPr>
                <p:nvPr/>
              </p:nvSpPr>
              <p:spPr bwMode="auto">
                <a:xfrm>
                  <a:off x="1428750" y="2170178"/>
                  <a:ext cx="499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0" name="Rectangle 509"/>
                <p:cNvSpPr>
                  <a:spLocks noChangeArrowheads="1"/>
                </p:cNvSpPr>
                <p:nvPr/>
              </p:nvSpPr>
              <p:spPr bwMode="auto">
                <a:xfrm>
                  <a:off x="1428750" y="2170180"/>
                  <a:ext cx="499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1" name="Rectangle 510"/>
                <p:cNvSpPr>
                  <a:spLocks noChangeArrowheads="1"/>
                </p:cNvSpPr>
                <p:nvPr/>
              </p:nvSpPr>
              <p:spPr bwMode="auto">
                <a:xfrm>
                  <a:off x="1428750" y="2170182"/>
                  <a:ext cx="499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2" name="Rectangle 511"/>
                <p:cNvSpPr>
                  <a:spLocks noChangeArrowheads="1"/>
                </p:cNvSpPr>
                <p:nvPr/>
              </p:nvSpPr>
              <p:spPr bwMode="auto">
                <a:xfrm>
                  <a:off x="1428750" y="2170184"/>
                  <a:ext cx="499" cy="2"/>
                </a:xfrm>
                <a:prstGeom prst="rect">
                  <a:avLst/>
                </a:prstGeom>
                <a:solidFill>
                  <a:srgbClr val="F8A3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3" name="Rectangle 512"/>
                <p:cNvSpPr>
                  <a:spLocks noChangeArrowheads="1"/>
                </p:cNvSpPr>
                <p:nvPr/>
              </p:nvSpPr>
              <p:spPr bwMode="auto">
                <a:xfrm>
                  <a:off x="1428750" y="2170186"/>
                  <a:ext cx="499" cy="2"/>
                </a:xfrm>
                <a:prstGeom prst="rect">
                  <a:avLst/>
                </a:prstGeom>
                <a:solidFill>
                  <a:srgbClr val="F8A2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4" name="Rectangle 513"/>
                <p:cNvSpPr>
                  <a:spLocks noChangeArrowheads="1"/>
                </p:cNvSpPr>
                <p:nvPr/>
              </p:nvSpPr>
              <p:spPr bwMode="auto">
                <a:xfrm>
                  <a:off x="1428750" y="2170188"/>
                  <a:ext cx="499" cy="2"/>
                </a:xfrm>
                <a:prstGeom prst="rect">
                  <a:avLst/>
                </a:prstGeom>
                <a:solidFill>
                  <a:srgbClr val="F8A0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5" name="Rectangle 514"/>
                <p:cNvSpPr>
                  <a:spLocks noChangeArrowheads="1"/>
                </p:cNvSpPr>
                <p:nvPr/>
              </p:nvSpPr>
              <p:spPr bwMode="auto">
                <a:xfrm>
                  <a:off x="1428750" y="2170190"/>
                  <a:ext cx="499" cy="2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6" name="Rectangle 515"/>
                <p:cNvSpPr>
                  <a:spLocks noChangeArrowheads="1"/>
                </p:cNvSpPr>
                <p:nvPr/>
              </p:nvSpPr>
              <p:spPr bwMode="auto">
                <a:xfrm>
                  <a:off x="1428750" y="2170192"/>
                  <a:ext cx="499" cy="2"/>
                </a:xfrm>
                <a:prstGeom prst="rect">
                  <a:avLst/>
                </a:prstGeom>
                <a:solidFill>
                  <a:srgbClr val="F89E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7" name="Rectangle 516"/>
                <p:cNvSpPr>
                  <a:spLocks noChangeArrowheads="1"/>
                </p:cNvSpPr>
                <p:nvPr/>
              </p:nvSpPr>
              <p:spPr bwMode="auto">
                <a:xfrm>
                  <a:off x="1428750" y="2170194"/>
                  <a:ext cx="499" cy="2"/>
                </a:xfrm>
                <a:prstGeom prst="rect">
                  <a:avLst/>
                </a:prstGeom>
                <a:solidFill>
                  <a:srgbClr val="F79D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8" name="Rectangle 517"/>
                <p:cNvSpPr>
                  <a:spLocks noChangeArrowheads="1"/>
                </p:cNvSpPr>
                <p:nvPr/>
              </p:nvSpPr>
              <p:spPr bwMode="auto">
                <a:xfrm>
                  <a:off x="1428750" y="2170196"/>
                  <a:ext cx="499" cy="2"/>
                </a:xfrm>
                <a:prstGeom prst="rect">
                  <a:avLst/>
                </a:prstGeom>
                <a:solidFill>
                  <a:srgbClr val="F79C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19" name="Rectangle 518"/>
                <p:cNvSpPr>
                  <a:spLocks noChangeArrowheads="1"/>
                </p:cNvSpPr>
                <p:nvPr/>
              </p:nvSpPr>
              <p:spPr bwMode="auto">
                <a:xfrm>
                  <a:off x="1428750" y="2170198"/>
                  <a:ext cx="499" cy="4"/>
                </a:xfrm>
                <a:prstGeom prst="rect">
                  <a:avLst/>
                </a:prstGeom>
                <a:solidFill>
                  <a:srgbClr val="F79B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0" name="Rectangle 519"/>
                <p:cNvSpPr>
                  <a:spLocks noChangeArrowheads="1"/>
                </p:cNvSpPr>
                <p:nvPr/>
              </p:nvSpPr>
              <p:spPr bwMode="auto">
                <a:xfrm>
                  <a:off x="1428750" y="2170202"/>
                  <a:ext cx="499" cy="2"/>
                </a:xfrm>
                <a:prstGeom prst="rect">
                  <a:avLst/>
                </a:prstGeom>
                <a:solidFill>
                  <a:srgbClr val="F79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1" name="Rectangle 520"/>
                <p:cNvSpPr>
                  <a:spLocks noChangeArrowheads="1"/>
                </p:cNvSpPr>
                <p:nvPr/>
              </p:nvSpPr>
              <p:spPr bwMode="auto">
                <a:xfrm>
                  <a:off x="1428750" y="2170204"/>
                  <a:ext cx="499" cy="3"/>
                </a:xfrm>
                <a:prstGeom prst="rect">
                  <a:avLst/>
                </a:prstGeom>
                <a:solidFill>
                  <a:srgbClr val="F7994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2" name="Rectangle 521"/>
                <p:cNvSpPr>
                  <a:spLocks noChangeArrowheads="1"/>
                </p:cNvSpPr>
                <p:nvPr/>
              </p:nvSpPr>
              <p:spPr bwMode="auto">
                <a:xfrm>
                  <a:off x="1428750" y="2170207"/>
                  <a:ext cx="499" cy="5"/>
                </a:xfrm>
                <a:prstGeom prst="rect">
                  <a:avLst/>
                </a:prstGeom>
                <a:solidFill>
                  <a:srgbClr val="F799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3" name="Rectangle 522"/>
                <p:cNvSpPr>
                  <a:spLocks noChangeArrowheads="1"/>
                </p:cNvSpPr>
                <p:nvPr/>
              </p:nvSpPr>
              <p:spPr bwMode="auto">
                <a:xfrm>
                  <a:off x="1428750" y="2170212"/>
                  <a:ext cx="499" cy="4"/>
                </a:xfrm>
                <a:prstGeom prst="rect">
                  <a:avLst/>
                </a:prstGeom>
                <a:solidFill>
                  <a:srgbClr val="F7974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4" name="Rectangle 523"/>
                <p:cNvSpPr>
                  <a:spLocks noChangeArrowheads="1"/>
                </p:cNvSpPr>
                <p:nvPr/>
              </p:nvSpPr>
              <p:spPr bwMode="auto">
                <a:xfrm>
                  <a:off x="1428750" y="2170216"/>
                  <a:ext cx="499" cy="5"/>
                </a:xfrm>
                <a:prstGeom prst="rect">
                  <a:avLst/>
                </a:prstGeom>
                <a:solidFill>
                  <a:srgbClr val="F797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5" name="Rectangle 524"/>
                <p:cNvSpPr>
                  <a:spLocks noChangeArrowheads="1"/>
                </p:cNvSpPr>
                <p:nvPr/>
              </p:nvSpPr>
              <p:spPr bwMode="auto">
                <a:xfrm>
                  <a:off x="1428750" y="2170221"/>
                  <a:ext cx="499" cy="7"/>
                </a:xfrm>
                <a:prstGeom prst="rect">
                  <a:avLst/>
                </a:prstGeom>
                <a:solidFill>
                  <a:srgbClr val="F796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6" name="Rectangle 525"/>
                <p:cNvSpPr>
                  <a:spLocks noChangeArrowheads="1"/>
                </p:cNvSpPr>
                <p:nvPr/>
              </p:nvSpPr>
              <p:spPr bwMode="auto">
                <a:xfrm>
                  <a:off x="1428750" y="2170228"/>
                  <a:ext cx="499" cy="5"/>
                </a:xfrm>
                <a:prstGeom prst="rect">
                  <a:avLst/>
                </a:prstGeom>
                <a:solidFill>
                  <a:srgbClr val="F797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7" name="Rectangle 526"/>
                <p:cNvSpPr>
                  <a:spLocks noChangeArrowheads="1"/>
                </p:cNvSpPr>
                <p:nvPr/>
              </p:nvSpPr>
              <p:spPr bwMode="auto">
                <a:xfrm>
                  <a:off x="1428750" y="2170233"/>
                  <a:ext cx="499" cy="5"/>
                </a:xfrm>
                <a:prstGeom prst="rect">
                  <a:avLst/>
                </a:prstGeom>
                <a:solidFill>
                  <a:srgbClr val="F7974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8" name="Rectangle 527"/>
                <p:cNvSpPr>
                  <a:spLocks noChangeArrowheads="1"/>
                </p:cNvSpPr>
                <p:nvPr/>
              </p:nvSpPr>
              <p:spPr bwMode="auto">
                <a:xfrm>
                  <a:off x="1428750" y="2170238"/>
                  <a:ext cx="499" cy="3"/>
                </a:xfrm>
                <a:prstGeom prst="rect">
                  <a:avLst/>
                </a:prstGeom>
                <a:solidFill>
                  <a:srgbClr val="F798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29" name="Rectangle 528"/>
                <p:cNvSpPr>
                  <a:spLocks noChangeArrowheads="1"/>
                </p:cNvSpPr>
                <p:nvPr/>
              </p:nvSpPr>
              <p:spPr bwMode="auto">
                <a:xfrm>
                  <a:off x="1428750" y="2170241"/>
                  <a:ext cx="499" cy="2"/>
                </a:xfrm>
                <a:prstGeom prst="rect">
                  <a:avLst/>
                </a:prstGeom>
                <a:solidFill>
                  <a:srgbClr val="F7994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0" name="Rectangle 529"/>
                <p:cNvSpPr>
                  <a:spLocks noChangeArrowheads="1"/>
                </p:cNvSpPr>
                <p:nvPr/>
              </p:nvSpPr>
              <p:spPr bwMode="auto">
                <a:xfrm>
                  <a:off x="1428750" y="2170243"/>
                  <a:ext cx="499" cy="3"/>
                </a:xfrm>
                <a:prstGeom prst="rect">
                  <a:avLst/>
                </a:prstGeom>
                <a:solidFill>
                  <a:srgbClr val="F79A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1" name="Rectangle 530"/>
                <p:cNvSpPr>
                  <a:spLocks noChangeArrowheads="1"/>
                </p:cNvSpPr>
                <p:nvPr/>
              </p:nvSpPr>
              <p:spPr bwMode="auto">
                <a:xfrm>
                  <a:off x="1428750" y="2170246"/>
                  <a:ext cx="499" cy="3"/>
                </a:xfrm>
                <a:prstGeom prst="rect">
                  <a:avLst/>
                </a:prstGeom>
                <a:solidFill>
                  <a:srgbClr val="F79B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2" name="Rectangle 531"/>
                <p:cNvSpPr>
                  <a:spLocks noChangeArrowheads="1"/>
                </p:cNvSpPr>
                <p:nvPr/>
              </p:nvSpPr>
              <p:spPr bwMode="auto">
                <a:xfrm>
                  <a:off x="1428750" y="2170249"/>
                  <a:ext cx="499" cy="2"/>
                </a:xfrm>
                <a:prstGeom prst="rect">
                  <a:avLst/>
                </a:prstGeom>
                <a:solidFill>
                  <a:srgbClr val="F79C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3" name="Rectangle 532"/>
                <p:cNvSpPr>
                  <a:spLocks noChangeArrowheads="1"/>
                </p:cNvSpPr>
                <p:nvPr/>
              </p:nvSpPr>
              <p:spPr bwMode="auto">
                <a:xfrm>
                  <a:off x="1428750" y="2170251"/>
                  <a:ext cx="499" cy="3"/>
                </a:xfrm>
                <a:prstGeom prst="rect">
                  <a:avLst/>
                </a:prstGeom>
                <a:solidFill>
                  <a:srgbClr val="F79D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4" name="Rectangle 533"/>
                <p:cNvSpPr>
                  <a:spLocks noChangeArrowheads="1"/>
                </p:cNvSpPr>
                <p:nvPr/>
              </p:nvSpPr>
              <p:spPr bwMode="auto">
                <a:xfrm>
                  <a:off x="1428750" y="2170254"/>
                  <a:ext cx="499" cy="2"/>
                </a:xfrm>
                <a:prstGeom prst="rect">
                  <a:avLst/>
                </a:prstGeom>
                <a:solidFill>
                  <a:srgbClr val="F89E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5" name="Rectangle 534"/>
                <p:cNvSpPr>
                  <a:spLocks noChangeArrowheads="1"/>
                </p:cNvSpPr>
                <p:nvPr/>
              </p:nvSpPr>
              <p:spPr bwMode="auto">
                <a:xfrm>
                  <a:off x="1428750" y="2170256"/>
                  <a:ext cx="499" cy="2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6" name="Rectangle 535"/>
                <p:cNvSpPr>
                  <a:spLocks noChangeArrowheads="1"/>
                </p:cNvSpPr>
                <p:nvPr/>
              </p:nvSpPr>
              <p:spPr bwMode="auto">
                <a:xfrm>
                  <a:off x="1428750" y="2170258"/>
                  <a:ext cx="499" cy="2"/>
                </a:xfrm>
                <a:prstGeom prst="rect">
                  <a:avLst/>
                </a:prstGeom>
                <a:solidFill>
                  <a:srgbClr val="F8A0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7" name="Rectangle 536"/>
                <p:cNvSpPr>
                  <a:spLocks noChangeArrowheads="1"/>
                </p:cNvSpPr>
                <p:nvPr/>
              </p:nvSpPr>
              <p:spPr bwMode="auto">
                <a:xfrm>
                  <a:off x="1428750" y="2170260"/>
                  <a:ext cx="499" cy="2"/>
                </a:xfrm>
                <a:prstGeom prst="rect">
                  <a:avLst/>
                </a:prstGeom>
                <a:solidFill>
                  <a:srgbClr val="F8A2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8" name="Rectangle 537"/>
                <p:cNvSpPr>
                  <a:spLocks noChangeArrowheads="1"/>
                </p:cNvSpPr>
                <p:nvPr/>
              </p:nvSpPr>
              <p:spPr bwMode="auto">
                <a:xfrm>
                  <a:off x="1428750" y="2170262"/>
                  <a:ext cx="499" cy="2"/>
                </a:xfrm>
                <a:prstGeom prst="rect">
                  <a:avLst/>
                </a:prstGeom>
                <a:solidFill>
                  <a:srgbClr val="F8A3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39" name="Rectangle 538"/>
                <p:cNvSpPr>
                  <a:spLocks noChangeArrowheads="1"/>
                </p:cNvSpPr>
                <p:nvPr/>
              </p:nvSpPr>
              <p:spPr bwMode="auto">
                <a:xfrm>
                  <a:off x="1428750" y="2170264"/>
                  <a:ext cx="499" cy="1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0" name="Rectangle 539"/>
                <p:cNvSpPr>
                  <a:spLocks noChangeArrowheads="1"/>
                </p:cNvSpPr>
                <p:nvPr/>
              </p:nvSpPr>
              <p:spPr bwMode="auto">
                <a:xfrm>
                  <a:off x="1428750" y="2170265"/>
                  <a:ext cx="499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1" name="Rectangle 540"/>
                <p:cNvSpPr>
                  <a:spLocks noChangeArrowheads="1"/>
                </p:cNvSpPr>
                <p:nvPr/>
              </p:nvSpPr>
              <p:spPr bwMode="auto">
                <a:xfrm>
                  <a:off x="1428750" y="2170267"/>
                  <a:ext cx="499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2" name="Rectangle 541"/>
                <p:cNvSpPr>
                  <a:spLocks noChangeArrowheads="1"/>
                </p:cNvSpPr>
                <p:nvPr/>
              </p:nvSpPr>
              <p:spPr bwMode="auto">
                <a:xfrm>
                  <a:off x="1428750" y="2170269"/>
                  <a:ext cx="499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3" name="Rectangle 542"/>
                <p:cNvSpPr>
                  <a:spLocks noChangeArrowheads="1"/>
                </p:cNvSpPr>
                <p:nvPr/>
              </p:nvSpPr>
              <p:spPr bwMode="auto">
                <a:xfrm>
                  <a:off x="1428750" y="2170271"/>
                  <a:ext cx="499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4" name="Rectangle 543"/>
                <p:cNvSpPr>
                  <a:spLocks noChangeArrowheads="1"/>
                </p:cNvSpPr>
                <p:nvPr/>
              </p:nvSpPr>
              <p:spPr bwMode="auto">
                <a:xfrm>
                  <a:off x="1428750" y="2170273"/>
                  <a:ext cx="499" cy="2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5" name="Rectangle 544"/>
                <p:cNvSpPr>
                  <a:spLocks noChangeArrowheads="1"/>
                </p:cNvSpPr>
                <p:nvPr/>
              </p:nvSpPr>
              <p:spPr bwMode="auto">
                <a:xfrm>
                  <a:off x="1428750" y="2170275"/>
                  <a:ext cx="499" cy="2"/>
                </a:xfrm>
                <a:prstGeom prst="rect">
                  <a:avLst/>
                </a:prstGeom>
                <a:solidFill>
                  <a:srgbClr val="F8AA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6" name="Rectangle 545"/>
                <p:cNvSpPr>
                  <a:spLocks noChangeArrowheads="1"/>
                </p:cNvSpPr>
                <p:nvPr/>
              </p:nvSpPr>
              <p:spPr bwMode="auto">
                <a:xfrm>
                  <a:off x="1428750" y="2170277"/>
                  <a:ext cx="499" cy="2"/>
                </a:xfrm>
                <a:prstGeom prst="rect">
                  <a:avLst/>
                </a:prstGeom>
                <a:solidFill>
                  <a:srgbClr val="F9AC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7" name="Rectangle 546"/>
                <p:cNvSpPr>
                  <a:spLocks noChangeArrowheads="1"/>
                </p:cNvSpPr>
                <p:nvPr/>
              </p:nvSpPr>
              <p:spPr bwMode="auto">
                <a:xfrm>
                  <a:off x="1428750" y="2170279"/>
                  <a:ext cx="499" cy="2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8" name="Rectangle 547"/>
                <p:cNvSpPr>
                  <a:spLocks noChangeArrowheads="1"/>
                </p:cNvSpPr>
                <p:nvPr/>
              </p:nvSpPr>
              <p:spPr bwMode="auto">
                <a:xfrm>
                  <a:off x="1428750" y="2170281"/>
                  <a:ext cx="499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49" name="Rectangle 548"/>
                <p:cNvSpPr>
                  <a:spLocks noChangeArrowheads="1"/>
                </p:cNvSpPr>
                <p:nvPr/>
              </p:nvSpPr>
              <p:spPr bwMode="auto">
                <a:xfrm>
                  <a:off x="1428750" y="2170283"/>
                  <a:ext cx="499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0" name="Rectangle 549"/>
                <p:cNvSpPr>
                  <a:spLocks noChangeArrowheads="1"/>
                </p:cNvSpPr>
                <p:nvPr/>
              </p:nvSpPr>
              <p:spPr bwMode="auto">
                <a:xfrm>
                  <a:off x="1428750" y="2170285"/>
                  <a:ext cx="499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1" name="Rectangle 550"/>
                <p:cNvSpPr>
                  <a:spLocks noChangeArrowheads="1"/>
                </p:cNvSpPr>
                <p:nvPr/>
              </p:nvSpPr>
              <p:spPr bwMode="auto">
                <a:xfrm>
                  <a:off x="1428750" y="2170287"/>
                  <a:ext cx="499" cy="2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2" name="Rectangle 551"/>
                <p:cNvSpPr>
                  <a:spLocks noChangeArrowheads="1"/>
                </p:cNvSpPr>
                <p:nvPr/>
              </p:nvSpPr>
              <p:spPr bwMode="auto">
                <a:xfrm>
                  <a:off x="1428750" y="2170289"/>
                  <a:ext cx="499" cy="2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3" name="Rectangle 552"/>
                <p:cNvSpPr>
                  <a:spLocks noChangeArrowheads="1"/>
                </p:cNvSpPr>
                <p:nvPr/>
              </p:nvSpPr>
              <p:spPr bwMode="auto">
                <a:xfrm>
                  <a:off x="1428750" y="2170291"/>
                  <a:ext cx="499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4" name="Rectangle 553"/>
                <p:cNvSpPr>
                  <a:spLocks noChangeArrowheads="1"/>
                </p:cNvSpPr>
                <p:nvPr/>
              </p:nvSpPr>
              <p:spPr bwMode="auto">
                <a:xfrm>
                  <a:off x="1428750" y="2170294"/>
                  <a:ext cx="499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5" name="Rectangle 554"/>
                <p:cNvSpPr>
                  <a:spLocks noChangeArrowheads="1"/>
                </p:cNvSpPr>
                <p:nvPr/>
              </p:nvSpPr>
              <p:spPr bwMode="auto">
                <a:xfrm>
                  <a:off x="1428750" y="2170298"/>
                  <a:ext cx="499" cy="2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6" name="Rectangle 555"/>
                <p:cNvSpPr>
                  <a:spLocks noChangeArrowheads="1"/>
                </p:cNvSpPr>
                <p:nvPr/>
              </p:nvSpPr>
              <p:spPr bwMode="auto">
                <a:xfrm>
                  <a:off x="1428750" y="2170300"/>
                  <a:ext cx="499" cy="4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7" name="Rectangle 556"/>
                <p:cNvSpPr>
                  <a:spLocks noChangeArrowheads="1"/>
                </p:cNvSpPr>
                <p:nvPr/>
              </p:nvSpPr>
              <p:spPr bwMode="auto">
                <a:xfrm>
                  <a:off x="1428750" y="2170304"/>
                  <a:ext cx="499" cy="4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8" name="Rectangle 557"/>
                <p:cNvSpPr>
                  <a:spLocks noChangeArrowheads="1"/>
                </p:cNvSpPr>
                <p:nvPr/>
              </p:nvSpPr>
              <p:spPr bwMode="auto">
                <a:xfrm>
                  <a:off x="1428750" y="2170308"/>
                  <a:ext cx="499" cy="5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9" name="Rectangle 558"/>
                <p:cNvSpPr>
                  <a:spLocks noChangeArrowheads="1"/>
                </p:cNvSpPr>
                <p:nvPr/>
              </p:nvSpPr>
              <p:spPr bwMode="auto">
                <a:xfrm>
                  <a:off x="1428750" y="2170313"/>
                  <a:ext cx="499" cy="4"/>
                </a:xfrm>
                <a:prstGeom prst="rect">
                  <a:avLst/>
                </a:prstGeom>
                <a:solidFill>
                  <a:srgbClr val="FABC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0" name="Rectangle 559"/>
                <p:cNvSpPr>
                  <a:spLocks noChangeArrowheads="1"/>
                </p:cNvSpPr>
                <p:nvPr/>
              </p:nvSpPr>
              <p:spPr bwMode="auto">
                <a:xfrm>
                  <a:off x="1428750" y="2170317"/>
                  <a:ext cx="499" cy="11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1" name="Rectangle 560"/>
                <p:cNvSpPr>
                  <a:spLocks noChangeArrowheads="1"/>
                </p:cNvSpPr>
                <p:nvPr/>
              </p:nvSpPr>
              <p:spPr bwMode="auto">
                <a:xfrm>
                  <a:off x="1428750" y="2170328"/>
                  <a:ext cx="499" cy="5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2" name="Rectangle 561"/>
                <p:cNvSpPr>
                  <a:spLocks noChangeArrowheads="1"/>
                </p:cNvSpPr>
                <p:nvPr/>
              </p:nvSpPr>
              <p:spPr bwMode="auto">
                <a:xfrm>
                  <a:off x="1428751" y="2170113"/>
                  <a:ext cx="498" cy="220"/>
                </a:xfrm>
                <a:prstGeom prst="rect">
                  <a:avLst/>
                </a:prstGeom>
                <a:noFill/>
                <a:ln w="8" cap="rnd">
                  <a:solidFill>
                    <a:srgbClr val="F79646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487" name="Rectangle 486"/>
              <p:cNvSpPr>
                <a:spLocks noChangeArrowheads="1"/>
              </p:cNvSpPr>
              <p:nvPr/>
            </p:nvSpPr>
            <p:spPr bwMode="auto">
              <a:xfrm>
                <a:off x="1437497" y="2180623"/>
                <a:ext cx="674254" cy="2166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CLOSURE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42" name="Group 41"/>
            <p:cNvGrpSpPr>
              <a:grpSpLocks/>
            </p:cNvGrpSpPr>
            <p:nvPr/>
          </p:nvGrpSpPr>
          <p:grpSpPr bwMode="auto">
            <a:xfrm>
              <a:off x="1852030" y="4938713"/>
              <a:ext cx="4983163" cy="314325"/>
              <a:chOff x="1852030" y="4938713"/>
              <a:chExt cx="4983502" cy="315301"/>
            </a:xfrm>
          </p:grpSpPr>
          <p:sp>
            <p:nvSpPr>
              <p:cNvPr id="455" name="Rectangle 454"/>
              <p:cNvSpPr>
                <a:spLocks noChangeArrowheads="1"/>
              </p:cNvSpPr>
              <p:nvPr/>
            </p:nvSpPr>
            <p:spPr bwMode="auto">
              <a:xfrm>
                <a:off x="3125471" y="4963237"/>
                <a:ext cx="2921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56" name="Rectangle 455"/>
              <p:cNvSpPr>
                <a:spLocks noChangeArrowheads="1"/>
              </p:cNvSpPr>
              <p:nvPr/>
            </p:nvSpPr>
            <p:spPr bwMode="auto">
              <a:xfrm>
                <a:off x="3157001" y="4949223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grpSp>
            <p:nvGrpSpPr>
              <p:cNvPr id="457" name="Group 456"/>
              <p:cNvGrpSpPr>
                <a:grpSpLocks/>
              </p:cNvGrpSpPr>
              <p:nvPr/>
            </p:nvGrpSpPr>
            <p:grpSpPr bwMode="auto">
              <a:xfrm>
                <a:off x="1852030" y="4938713"/>
                <a:ext cx="4983502" cy="315301"/>
                <a:chOff x="1852030" y="4938713"/>
                <a:chExt cx="2845" cy="180"/>
              </a:xfrm>
            </p:grpSpPr>
            <p:sp>
              <p:nvSpPr>
                <p:cNvPr id="484" name="Rectangle 483"/>
                <p:cNvSpPr>
                  <a:spLocks noChangeArrowheads="1"/>
                </p:cNvSpPr>
                <p:nvPr/>
              </p:nvSpPr>
              <p:spPr bwMode="auto">
                <a:xfrm>
                  <a:off x="1852030" y="4938713"/>
                  <a:ext cx="2845" cy="18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85" name="Rectangle 484"/>
                <p:cNvSpPr>
                  <a:spLocks noChangeArrowheads="1"/>
                </p:cNvSpPr>
                <p:nvPr/>
              </p:nvSpPr>
              <p:spPr bwMode="auto">
                <a:xfrm>
                  <a:off x="1852030" y="4938713"/>
                  <a:ext cx="2845" cy="180"/>
                </a:xfrm>
                <a:prstGeom prst="rect">
                  <a:avLst/>
                </a:prstGeom>
                <a:noFill/>
                <a:ln w="6" cap="rnd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458" name="Rectangle 457"/>
              <p:cNvSpPr>
                <a:spLocks noChangeArrowheads="1"/>
              </p:cNvSpPr>
              <p:nvPr/>
            </p:nvSpPr>
            <p:spPr bwMode="auto">
              <a:xfrm>
                <a:off x="2060463" y="4994767"/>
                <a:ext cx="280689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Note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59" name="Rectangle 458"/>
              <p:cNvSpPr>
                <a:spLocks noChangeArrowheads="1"/>
              </p:cNvSpPr>
              <p:nvPr/>
            </p:nvSpPr>
            <p:spPr bwMode="auto">
              <a:xfrm>
                <a:off x="2372258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0" name="Rectangle 459"/>
              <p:cNvSpPr>
                <a:spLocks noChangeArrowheads="1"/>
              </p:cNvSpPr>
              <p:nvPr/>
            </p:nvSpPr>
            <p:spPr bwMode="auto">
              <a:xfrm>
                <a:off x="2405539" y="4994767"/>
                <a:ext cx="37468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: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1" name="Rectangle 460"/>
              <p:cNvSpPr>
                <a:spLocks noChangeArrowheads="1"/>
              </p:cNvSpPr>
              <p:nvPr/>
            </p:nvSpPr>
            <p:spPr bwMode="auto">
              <a:xfrm>
                <a:off x="2447579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2" name="Rectangle 461"/>
              <p:cNvSpPr>
                <a:spLocks noChangeArrowheads="1"/>
              </p:cNvSpPr>
              <p:nvPr/>
            </p:nvSpPr>
            <p:spPr bwMode="auto">
              <a:xfrm>
                <a:off x="2482613" y="4994767"/>
                <a:ext cx="42548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(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3" name="Rectangle 462"/>
              <p:cNvSpPr>
                <a:spLocks noChangeArrowheads="1"/>
              </p:cNvSpPr>
              <p:nvPr/>
            </p:nvSpPr>
            <p:spPr bwMode="auto">
              <a:xfrm>
                <a:off x="2528155" y="4994767"/>
                <a:ext cx="880170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EU terminology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4" name="Rectangle 463"/>
              <p:cNvSpPr>
                <a:spLocks noChangeArrowheads="1"/>
              </p:cNvSpPr>
              <p:nvPr/>
            </p:nvSpPr>
            <p:spPr bwMode="auto">
              <a:xfrm>
                <a:off x="3500352" y="4994767"/>
                <a:ext cx="3206" cy="1852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endParaRPr lang="en-GB"/>
              </a:p>
            </p:txBody>
          </p:sp>
          <p:sp>
            <p:nvSpPr>
              <p:cNvPr id="465" name="Rectangle 464"/>
              <p:cNvSpPr>
                <a:spLocks noChangeArrowheads="1"/>
              </p:cNvSpPr>
              <p:nvPr/>
            </p:nvSpPr>
            <p:spPr bwMode="auto">
              <a:xfrm>
                <a:off x="3547619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6" name="Rectangle 465"/>
              <p:cNvSpPr>
                <a:spLocks noChangeArrowheads="1"/>
              </p:cNvSpPr>
              <p:nvPr/>
            </p:nvSpPr>
            <p:spPr bwMode="auto">
              <a:xfrm>
                <a:off x="3582653" y="4994767"/>
                <a:ext cx="757607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Identification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7" name="Rectangle 466"/>
              <p:cNvSpPr>
                <a:spLocks noChangeArrowheads="1"/>
              </p:cNvSpPr>
              <p:nvPr/>
            </p:nvSpPr>
            <p:spPr bwMode="auto">
              <a:xfrm>
                <a:off x="4416442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8" name="Rectangle 467"/>
              <p:cNvSpPr>
                <a:spLocks noChangeArrowheads="1"/>
              </p:cNvSpPr>
              <p:nvPr/>
            </p:nvSpPr>
            <p:spPr bwMode="auto">
              <a:xfrm>
                <a:off x="4449723" y="4994767"/>
                <a:ext cx="69855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+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69" name="Rectangle 468"/>
              <p:cNvSpPr>
                <a:spLocks noChangeArrowheads="1"/>
              </p:cNvSpPr>
              <p:nvPr/>
            </p:nvSpPr>
            <p:spPr bwMode="auto">
              <a:xfrm>
                <a:off x="4563581" y="4994767"/>
                <a:ext cx="696642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Formulation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0" name="Rectangle 469"/>
              <p:cNvSpPr>
                <a:spLocks noChangeArrowheads="1"/>
              </p:cNvSpPr>
              <p:nvPr/>
            </p:nvSpPr>
            <p:spPr bwMode="auto">
              <a:xfrm>
                <a:off x="5330807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1" name="Rectangle 470"/>
              <p:cNvSpPr>
                <a:spLocks noChangeArrowheads="1"/>
              </p:cNvSpPr>
              <p:nvPr/>
            </p:nvSpPr>
            <p:spPr bwMode="auto">
              <a:xfrm>
                <a:off x="5365839" y="4994767"/>
                <a:ext cx="69855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=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2" name="Rectangle 471"/>
              <p:cNvSpPr>
                <a:spLocks noChangeArrowheads="1"/>
              </p:cNvSpPr>
              <p:nvPr/>
            </p:nvSpPr>
            <p:spPr bwMode="auto">
              <a:xfrm>
                <a:off x="5442913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3" name="Rectangle 472"/>
              <p:cNvSpPr>
                <a:spLocks noChangeArrowheads="1"/>
              </p:cNvSpPr>
              <p:nvPr/>
            </p:nvSpPr>
            <p:spPr bwMode="auto">
              <a:xfrm>
                <a:off x="5476194" y="4994767"/>
                <a:ext cx="528991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Appraisal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4" name="Rectangle 473"/>
              <p:cNvSpPr>
                <a:spLocks noChangeArrowheads="1"/>
              </p:cNvSpPr>
              <p:nvPr/>
            </p:nvSpPr>
            <p:spPr bwMode="auto">
              <a:xfrm>
                <a:off x="6059496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5" name="Rectangle 474"/>
              <p:cNvSpPr>
                <a:spLocks noChangeArrowheads="1"/>
              </p:cNvSpPr>
              <p:nvPr/>
            </p:nvSpPr>
            <p:spPr bwMode="auto">
              <a:xfrm>
                <a:off x="6094529" y="4994767"/>
                <a:ext cx="69855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+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6" name="Rectangle 475"/>
              <p:cNvSpPr>
                <a:spLocks noChangeArrowheads="1"/>
              </p:cNvSpPr>
              <p:nvPr/>
            </p:nvSpPr>
            <p:spPr bwMode="auto">
              <a:xfrm>
                <a:off x="6208387" y="4994767"/>
                <a:ext cx="86366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D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7" name="Rectangle 476"/>
              <p:cNvSpPr>
                <a:spLocks noChangeArrowheads="1"/>
              </p:cNvSpPr>
              <p:nvPr/>
            </p:nvSpPr>
            <p:spPr bwMode="auto">
              <a:xfrm>
                <a:off x="6301224" y="4994767"/>
                <a:ext cx="295930" cy="17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esign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8" name="Rectangle 477"/>
              <p:cNvSpPr>
                <a:spLocks noChangeArrowheads="1"/>
              </p:cNvSpPr>
              <p:nvPr/>
            </p:nvSpPr>
            <p:spPr bwMode="auto">
              <a:xfrm>
                <a:off x="6628785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79" name="Rectangle 478"/>
              <p:cNvSpPr>
                <a:spLocks noChangeArrowheads="1"/>
              </p:cNvSpPr>
              <p:nvPr/>
            </p:nvSpPr>
            <p:spPr bwMode="auto">
              <a:xfrm>
                <a:off x="6662065" y="4994767"/>
                <a:ext cx="31752" cy="17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80" name="Rectangle 479"/>
              <p:cNvSpPr>
                <a:spLocks noChangeArrowheads="1"/>
              </p:cNvSpPr>
              <p:nvPr/>
            </p:nvSpPr>
            <p:spPr bwMode="auto">
              <a:xfrm>
                <a:off x="3582681" y="5159424"/>
                <a:ext cx="833795" cy="875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1" name="Rectangle 480"/>
              <p:cNvSpPr>
                <a:spLocks noChangeArrowheads="1"/>
              </p:cNvSpPr>
              <p:nvPr/>
            </p:nvSpPr>
            <p:spPr bwMode="auto">
              <a:xfrm>
                <a:off x="4563616" y="5159424"/>
                <a:ext cx="879339" cy="875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2" name="Rectangle 481"/>
              <p:cNvSpPr>
                <a:spLocks noChangeArrowheads="1"/>
              </p:cNvSpPr>
              <p:nvPr/>
            </p:nvSpPr>
            <p:spPr bwMode="auto">
              <a:xfrm>
                <a:off x="5476236" y="5159424"/>
                <a:ext cx="583306" cy="875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3" name="Rectangle 482"/>
              <p:cNvSpPr>
                <a:spLocks noChangeArrowheads="1"/>
              </p:cNvSpPr>
              <p:nvPr/>
            </p:nvSpPr>
            <p:spPr bwMode="auto">
              <a:xfrm>
                <a:off x="6208435" y="5159424"/>
                <a:ext cx="420401" cy="875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712782" y="4660900"/>
              <a:ext cx="31750" cy="175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100" kern="120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 </a:t>
              </a:r>
              <a:endParaRPr lang="en-GB" sz="1200">
                <a:effectLst/>
                <a:latin typeface="Times New Roman"/>
                <a:ea typeface="Times New Roman"/>
              </a:endParaRPr>
            </a:p>
          </p:txBody>
        </p:sp>
        <p:grpSp>
          <p:nvGrpSpPr>
            <p:cNvPr id="44" name="Group 43"/>
            <p:cNvGrpSpPr>
              <a:grpSpLocks/>
            </p:cNvGrpSpPr>
            <p:nvPr/>
          </p:nvGrpSpPr>
          <p:grpSpPr bwMode="auto">
            <a:xfrm>
              <a:off x="92960" y="1795036"/>
              <a:ext cx="911226" cy="1006474"/>
              <a:chOff x="92959" y="1795038"/>
              <a:chExt cx="910869" cy="1007210"/>
            </a:xfrm>
          </p:grpSpPr>
          <p:sp>
            <p:nvSpPr>
              <p:cNvPr id="397" name="Rectangle 396"/>
              <p:cNvSpPr>
                <a:spLocks noChangeArrowheads="1"/>
              </p:cNvSpPr>
              <p:nvPr/>
            </p:nvSpPr>
            <p:spPr bwMode="auto">
              <a:xfrm>
                <a:off x="679764" y="1898386"/>
                <a:ext cx="26025" cy="175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98" name="Rectangle 397"/>
              <p:cNvSpPr>
                <a:spLocks noChangeArrowheads="1"/>
              </p:cNvSpPr>
              <p:nvPr/>
            </p:nvSpPr>
            <p:spPr bwMode="auto">
              <a:xfrm>
                <a:off x="709541" y="1872111"/>
                <a:ext cx="31738" cy="175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grpSp>
            <p:nvGrpSpPr>
              <p:cNvPr id="399" name="Group 398"/>
              <p:cNvGrpSpPr>
                <a:grpSpLocks/>
              </p:cNvGrpSpPr>
              <p:nvPr/>
            </p:nvGrpSpPr>
            <p:grpSpPr bwMode="auto">
              <a:xfrm>
                <a:off x="92959" y="1795038"/>
                <a:ext cx="910869" cy="1007210"/>
                <a:chOff x="92959" y="1795038"/>
                <a:chExt cx="520" cy="575"/>
              </a:xfrm>
            </p:grpSpPr>
            <p:sp>
              <p:nvSpPr>
                <p:cNvPr id="413" name="Rectangle 412"/>
                <p:cNvSpPr>
                  <a:spLocks noChangeArrowheads="1"/>
                </p:cNvSpPr>
                <p:nvPr/>
              </p:nvSpPr>
              <p:spPr bwMode="auto">
                <a:xfrm>
                  <a:off x="92968" y="1795054"/>
                  <a:ext cx="511" cy="559"/>
                </a:xfrm>
                <a:prstGeom prst="rect">
                  <a:avLst/>
                </a:prstGeom>
                <a:solidFill>
                  <a:srgbClr val="3F31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pic>
              <p:nvPicPr>
                <p:cNvPr id="414" name="Picture 413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2968" y="1795054"/>
                  <a:ext cx="510" cy="55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15" name="Rectangle 414"/>
                <p:cNvSpPr>
                  <a:spLocks noChangeArrowheads="1"/>
                </p:cNvSpPr>
                <p:nvPr/>
              </p:nvSpPr>
              <p:spPr bwMode="auto">
                <a:xfrm>
                  <a:off x="92968" y="1795054"/>
                  <a:ext cx="511" cy="559"/>
                </a:xfrm>
                <a:prstGeom prst="rect">
                  <a:avLst/>
                </a:prstGeom>
                <a:solidFill>
                  <a:srgbClr val="3F31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16" name="Rectangle 415"/>
                <p:cNvSpPr>
                  <a:spLocks noChangeArrowheads="1"/>
                </p:cNvSpPr>
                <p:nvPr/>
              </p:nvSpPr>
              <p:spPr bwMode="auto">
                <a:xfrm>
                  <a:off x="92959" y="1795038"/>
                  <a:ext cx="511" cy="49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17" name="Rectangle 416"/>
                <p:cNvSpPr>
                  <a:spLocks noChangeArrowheads="1"/>
                </p:cNvSpPr>
                <p:nvPr/>
              </p:nvSpPr>
              <p:spPr bwMode="auto">
                <a:xfrm>
                  <a:off x="92959" y="1795087"/>
                  <a:ext cx="511" cy="29"/>
                </a:xfrm>
                <a:prstGeom prst="rect">
                  <a:avLst/>
                </a:prstGeom>
                <a:solidFill>
                  <a:srgbClr val="FEFD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18" name="Rectangle 417"/>
                <p:cNvSpPr>
                  <a:spLocks noChangeArrowheads="1"/>
                </p:cNvSpPr>
                <p:nvPr/>
              </p:nvSpPr>
              <p:spPr bwMode="auto">
                <a:xfrm>
                  <a:off x="92959" y="1795116"/>
                  <a:ext cx="511" cy="24"/>
                </a:xfrm>
                <a:prstGeom prst="rect">
                  <a:avLst/>
                </a:prstGeom>
                <a:solidFill>
                  <a:srgbClr val="FCFC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19" name="Rectangle 418"/>
                <p:cNvSpPr>
                  <a:spLocks noChangeArrowheads="1"/>
                </p:cNvSpPr>
                <p:nvPr/>
              </p:nvSpPr>
              <p:spPr bwMode="auto">
                <a:xfrm>
                  <a:off x="92959" y="1795140"/>
                  <a:ext cx="511" cy="23"/>
                </a:xfrm>
                <a:prstGeom prst="rect">
                  <a:avLst/>
                </a:prstGeom>
                <a:solidFill>
                  <a:srgbClr val="FBFA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0" name="Rectangle 419"/>
                <p:cNvSpPr>
                  <a:spLocks noChangeArrowheads="1"/>
                </p:cNvSpPr>
                <p:nvPr/>
              </p:nvSpPr>
              <p:spPr bwMode="auto">
                <a:xfrm>
                  <a:off x="92959" y="1795163"/>
                  <a:ext cx="511" cy="22"/>
                </a:xfrm>
                <a:prstGeom prst="rect">
                  <a:avLst/>
                </a:prstGeom>
                <a:solidFill>
                  <a:srgbClr val="F9F8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1" name="Rectangle 420"/>
                <p:cNvSpPr>
                  <a:spLocks noChangeArrowheads="1"/>
                </p:cNvSpPr>
                <p:nvPr/>
              </p:nvSpPr>
              <p:spPr bwMode="auto">
                <a:xfrm>
                  <a:off x="92959" y="1795185"/>
                  <a:ext cx="511" cy="16"/>
                </a:xfrm>
                <a:prstGeom prst="rect">
                  <a:avLst/>
                </a:prstGeom>
                <a:solidFill>
                  <a:srgbClr val="F8F6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2" name="Rectangle 421"/>
                <p:cNvSpPr>
                  <a:spLocks noChangeArrowheads="1"/>
                </p:cNvSpPr>
                <p:nvPr/>
              </p:nvSpPr>
              <p:spPr bwMode="auto">
                <a:xfrm>
                  <a:off x="92959" y="1795201"/>
                  <a:ext cx="511" cy="8"/>
                </a:xfrm>
                <a:prstGeom prst="rect">
                  <a:avLst/>
                </a:prstGeom>
                <a:solidFill>
                  <a:srgbClr val="F6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3" name="Rectangle 422"/>
                <p:cNvSpPr>
                  <a:spLocks noChangeArrowheads="1"/>
                </p:cNvSpPr>
                <p:nvPr/>
              </p:nvSpPr>
              <p:spPr bwMode="auto">
                <a:xfrm>
                  <a:off x="92959" y="1795209"/>
                  <a:ext cx="511" cy="16"/>
                </a:xfrm>
                <a:prstGeom prst="rect">
                  <a:avLst/>
                </a:prstGeom>
                <a:solidFill>
                  <a:srgbClr val="F5F3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4" name="Rectangle 423"/>
                <p:cNvSpPr>
                  <a:spLocks noChangeArrowheads="1"/>
                </p:cNvSpPr>
                <p:nvPr/>
              </p:nvSpPr>
              <p:spPr bwMode="auto">
                <a:xfrm>
                  <a:off x="92959" y="1795225"/>
                  <a:ext cx="511" cy="10"/>
                </a:xfrm>
                <a:prstGeom prst="rect">
                  <a:avLst/>
                </a:prstGeom>
                <a:solidFill>
                  <a:srgbClr val="F4F1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5" name="Rectangle 424"/>
                <p:cNvSpPr>
                  <a:spLocks noChangeArrowheads="1"/>
                </p:cNvSpPr>
                <p:nvPr/>
              </p:nvSpPr>
              <p:spPr bwMode="auto">
                <a:xfrm>
                  <a:off x="92959" y="1795235"/>
                  <a:ext cx="511" cy="9"/>
                </a:xfrm>
                <a:prstGeom prst="rect">
                  <a:avLst/>
                </a:prstGeom>
                <a:solidFill>
                  <a:srgbClr val="F2F0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6" name="Rectangle 425"/>
                <p:cNvSpPr>
                  <a:spLocks noChangeArrowheads="1"/>
                </p:cNvSpPr>
                <p:nvPr/>
              </p:nvSpPr>
              <p:spPr bwMode="auto">
                <a:xfrm>
                  <a:off x="92959" y="1795244"/>
                  <a:ext cx="511" cy="11"/>
                </a:xfrm>
                <a:prstGeom prst="rect">
                  <a:avLst/>
                </a:prstGeom>
                <a:solidFill>
                  <a:srgbClr val="F1EE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7" name="Rectangle 426"/>
                <p:cNvSpPr>
                  <a:spLocks noChangeArrowheads="1"/>
                </p:cNvSpPr>
                <p:nvPr/>
              </p:nvSpPr>
              <p:spPr bwMode="auto">
                <a:xfrm>
                  <a:off x="92959" y="1795255"/>
                  <a:ext cx="511" cy="9"/>
                </a:xfrm>
                <a:prstGeom prst="rect">
                  <a:avLst/>
                </a:prstGeom>
                <a:solidFill>
                  <a:srgbClr val="F0ED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8" name="Rectangle 427"/>
                <p:cNvSpPr>
                  <a:spLocks noChangeArrowheads="1"/>
                </p:cNvSpPr>
                <p:nvPr/>
              </p:nvSpPr>
              <p:spPr bwMode="auto">
                <a:xfrm>
                  <a:off x="92959" y="1795264"/>
                  <a:ext cx="511" cy="11"/>
                </a:xfrm>
                <a:prstGeom prst="rect">
                  <a:avLst/>
                </a:prstGeom>
                <a:solidFill>
                  <a:srgbClr val="EFEB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9" name="Rectangle 428"/>
                <p:cNvSpPr>
                  <a:spLocks noChangeArrowheads="1"/>
                </p:cNvSpPr>
                <p:nvPr/>
              </p:nvSpPr>
              <p:spPr bwMode="auto">
                <a:xfrm>
                  <a:off x="92959" y="1795275"/>
                  <a:ext cx="511" cy="8"/>
                </a:xfrm>
                <a:prstGeom prst="rect">
                  <a:avLst/>
                </a:prstGeom>
                <a:solidFill>
                  <a:srgbClr val="EDEA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0" name="Rectangle 429"/>
                <p:cNvSpPr>
                  <a:spLocks noChangeArrowheads="1"/>
                </p:cNvSpPr>
                <p:nvPr/>
              </p:nvSpPr>
              <p:spPr bwMode="auto">
                <a:xfrm>
                  <a:off x="92959" y="1795283"/>
                  <a:ext cx="511" cy="9"/>
                </a:xfrm>
                <a:prstGeom prst="rect">
                  <a:avLst/>
                </a:prstGeom>
                <a:solidFill>
                  <a:srgbClr val="ECE8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1" name="Rectangle 430"/>
                <p:cNvSpPr>
                  <a:spLocks noChangeArrowheads="1"/>
                </p:cNvSpPr>
                <p:nvPr/>
              </p:nvSpPr>
              <p:spPr bwMode="auto">
                <a:xfrm>
                  <a:off x="92959" y="1795292"/>
                  <a:ext cx="511" cy="11"/>
                </a:xfrm>
                <a:prstGeom prst="rect">
                  <a:avLst/>
                </a:prstGeom>
                <a:solidFill>
                  <a:srgbClr val="EBE6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2" name="Rectangle 431"/>
                <p:cNvSpPr>
                  <a:spLocks noChangeArrowheads="1"/>
                </p:cNvSpPr>
                <p:nvPr/>
              </p:nvSpPr>
              <p:spPr bwMode="auto">
                <a:xfrm>
                  <a:off x="92959" y="1795303"/>
                  <a:ext cx="511" cy="7"/>
                </a:xfrm>
                <a:prstGeom prst="rect">
                  <a:avLst/>
                </a:prstGeom>
                <a:solidFill>
                  <a:srgbClr val="E9E5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3" name="Rectangle 432"/>
                <p:cNvSpPr>
                  <a:spLocks noChangeArrowheads="1"/>
                </p:cNvSpPr>
                <p:nvPr/>
              </p:nvSpPr>
              <p:spPr bwMode="auto">
                <a:xfrm>
                  <a:off x="92959" y="1795310"/>
                  <a:ext cx="511" cy="11"/>
                </a:xfrm>
                <a:prstGeom prst="rect">
                  <a:avLst/>
                </a:prstGeom>
                <a:solidFill>
                  <a:srgbClr val="E8E3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4" name="Rectangle 433"/>
                <p:cNvSpPr>
                  <a:spLocks noChangeArrowheads="1"/>
                </p:cNvSpPr>
                <p:nvPr/>
              </p:nvSpPr>
              <p:spPr bwMode="auto">
                <a:xfrm>
                  <a:off x="92959" y="1795321"/>
                  <a:ext cx="511" cy="10"/>
                </a:xfrm>
                <a:prstGeom prst="rect">
                  <a:avLst/>
                </a:prstGeom>
                <a:solidFill>
                  <a:srgbClr val="E6E1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5" name="Rectangle 434"/>
                <p:cNvSpPr>
                  <a:spLocks noChangeArrowheads="1"/>
                </p:cNvSpPr>
                <p:nvPr/>
              </p:nvSpPr>
              <p:spPr bwMode="auto">
                <a:xfrm>
                  <a:off x="92959" y="1795331"/>
                  <a:ext cx="511" cy="12"/>
                </a:xfrm>
                <a:prstGeom prst="rect">
                  <a:avLst/>
                </a:prstGeom>
                <a:solidFill>
                  <a:srgbClr val="E5DF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6" name="Rectangle 435"/>
                <p:cNvSpPr>
                  <a:spLocks noChangeArrowheads="1"/>
                </p:cNvSpPr>
                <p:nvPr/>
              </p:nvSpPr>
              <p:spPr bwMode="auto">
                <a:xfrm>
                  <a:off x="92959" y="1795343"/>
                  <a:ext cx="511" cy="10"/>
                </a:xfrm>
                <a:prstGeom prst="rect">
                  <a:avLst/>
                </a:prstGeom>
                <a:solidFill>
                  <a:srgbClr val="E3DDE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7" name="Rectangle 436"/>
                <p:cNvSpPr>
                  <a:spLocks noChangeArrowheads="1"/>
                </p:cNvSpPr>
                <p:nvPr/>
              </p:nvSpPr>
              <p:spPr bwMode="auto">
                <a:xfrm>
                  <a:off x="92959" y="1795353"/>
                  <a:ext cx="511" cy="9"/>
                </a:xfrm>
                <a:prstGeom prst="rect">
                  <a:avLst/>
                </a:prstGeom>
                <a:solidFill>
                  <a:srgbClr val="E2DBE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8" name="Rectangle 437"/>
                <p:cNvSpPr>
                  <a:spLocks noChangeArrowheads="1"/>
                </p:cNvSpPr>
                <p:nvPr/>
              </p:nvSpPr>
              <p:spPr bwMode="auto">
                <a:xfrm>
                  <a:off x="92959" y="1795362"/>
                  <a:ext cx="511" cy="7"/>
                </a:xfrm>
                <a:prstGeom prst="rect">
                  <a:avLst/>
                </a:prstGeom>
                <a:solidFill>
                  <a:srgbClr val="E0DA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39" name="Rectangle 438"/>
                <p:cNvSpPr>
                  <a:spLocks noChangeArrowheads="1"/>
                </p:cNvSpPr>
                <p:nvPr/>
              </p:nvSpPr>
              <p:spPr bwMode="auto">
                <a:xfrm>
                  <a:off x="92959" y="1795369"/>
                  <a:ext cx="511" cy="10"/>
                </a:xfrm>
                <a:prstGeom prst="rect">
                  <a:avLst/>
                </a:prstGeom>
                <a:solidFill>
                  <a:srgbClr val="DFD8E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0" name="Rectangle 439"/>
                <p:cNvSpPr>
                  <a:spLocks noChangeArrowheads="1"/>
                </p:cNvSpPr>
                <p:nvPr/>
              </p:nvSpPr>
              <p:spPr bwMode="auto">
                <a:xfrm>
                  <a:off x="92959" y="1795379"/>
                  <a:ext cx="511" cy="12"/>
                </a:xfrm>
                <a:prstGeom prst="rect">
                  <a:avLst/>
                </a:prstGeom>
                <a:solidFill>
                  <a:srgbClr val="DED6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1" name="Rectangle 440"/>
                <p:cNvSpPr>
                  <a:spLocks noChangeArrowheads="1"/>
                </p:cNvSpPr>
                <p:nvPr/>
              </p:nvSpPr>
              <p:spPr bwMode="auto">
                <a:xfrm>
                  <a:off x="92959" y="1795391"/>
                  <a:ext cx="511" cy="6"/>
                </a:xfrm>
                <a:prstGeom prst="rect">
                  <a:avLst/>
                </a:prstGeom>
                <a:solidFill>
                  <a:srgbClr val="DCD5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2" name="Rectangle 441"/>
                <p:cNvSpPr>
                  <a:spLocks noChangeArrowheads="1"/>
                </p:cNvSpPr>
                <p:nvPr/>
              </p:nvSpPr>
              <p:spPr bwMode="auto">
                <a:xfrm>
                  <a:off x="92959" y="1795397"/>
                  <a:ext cx="511" cy="13"/>
                </a:xfrm>
                <a:prstGeom prst="rect">
                  <a:avLst/>
                </a:prstGeom>
                <a:solidFill>
                  <a:srgbClr val="DBD3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3" name="Rectangle 442"/>
                <p:cNvSpPr>
                  <a:spLocks noChangeArrowheads="1"/>
                </p:cNvSpPr>
                <p:nvPr/>
              </p:nvSpPr>
              <p:spPr bwMode="auto">
                <a:xfrm>
                  <a:off x="92959" y="1795410"/>
                  <a:ext cx="511" cy="9"/>
                </a:xfrm>
                <a:prstGeom prst="rect">
                  <a:avLst/>
                </a:prstGeom>
                <a:solidFill>
                  <a:srgbClr val="DAD1E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4" name="Rectangle 443"/>
                <p:cNvSpPr>
                  <a:spLocks noChangeArrowheads="1"/>
                </p:cNvSpPr>
                <p:nvPr/>
              </p:nvSpPr>
              <p:spPr bwMode="auto">
                <a:xfrm>
                  <a:off x="92959" y="1795419"/>
                  <a:ext cx="511" cy="8"/>
                </a:xfrm>
                <a:prstGeom prst="rect">
                  <a:avLst/>
                </a:prstGeom>
                <a:solidFill>
                  <a:srgbClr val="D8D0E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5" name="Rectangle 444"/>
                <p:cNvSpPr>
                  <a:spLocks noChangeArrowheads="1"/>
                </p:cNvSpPr>
                <p:nvPr/>
              </p:nvSpPr>
              <p:spPr bwMode="auto">
                <a:xfrm>
                  <a:off x="92959" y="1795427"/>
                  <a:ext cx="511" cy="14"/>
                </a:xfrm>
                <a:prstGeom prst="rect">
                  <a:avLst/>
                </a:prstGeom>
                <a:solidFill>
                  <a:srgbClr val="D7CE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6" name="Rectangle 445"/>
                <p:cNvSpPr>
                  <a:spLocks noChangeArrowheads="1"/>
                </p:cNvSpPr>
                <p:nvPr/>
              </p:nvSpPr>
              <p:spPr bwMode="auto">
                <a:xfrm>
                  <a:off x="92959" y="1795441"/>
                  <a:ext cx="511" cy="12"/>
                </a:xfrm>
                <a:prstGeom prst="rect">
                  <a:avLst/>
                </a:prstGeom>
                <a:solidFill>
                  <a:srgbClr val="D6CC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7" name="Rectangle 446"/>
                <p:cNvSpPr>
                  <a:spLocks noChangeArrowheads="1"/>
                </p:cNvSpPr>
                <p:nvPr/>
              </p:nvSpPr>
              <p:spPr bwMode="auto">
                <a:xfrm>
                  <a:off x="92959" y="1795453"/>
                  <a:ext cx="511" cy="12"/>
                </a:xfrm>
                <a:prstGeom prst="rect">
                  <a:avLst/>
                </a:prstGeom>
                <a:solidFill>
                  <a:srgbClr val="D4CB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8" name="Rectangle 447"/>
                <p:cNvSpPr>
                  <a:spLocks noChangeArrowheads="1"/>
                </p:cNvSpPr>
                <p:nvPr/>
              </p:nvSpPr>
              <p:spPr bwMode="auto">
                <a:xfrm>
                  <a:off x="92959" y="1795465"/>
                  <a:ext cx="511" cy="17"/>
                </a:xfrm>
                <a:prstGeom prst="rect">
                  <a:avLst/>
                </a:prstGeom>
                <a:solidFill>
                  <a:srgbClr val="D3C9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49" name="Rectangle 448"/>
                <p:cNvSpPr>
                  <a:spLocks noChangeArrowheads="1"/>
                </p:cNvSpPr>
                <p:nvPr/>
              </p:nvSpPr>
              <p:spPr bwMode="auto">
                <a:xfrm>
                  <a:off x="92959" y="1795482"/>
                  <a:ext cx="511" cy="17"/>
                </a:xfrm>
                <a:prstGeom prst="rect">
                  <a:avLst/>
                </a:prstGeom>
                <a:solidFill>
                  <a:srgbClr val="D2C7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50" name="Rectangle 449"/>
                <p:cNvSpPr>
                  <a:spLocks noChangeArrowheads="1"/>
                </p:cNvSpPr>
                <p:nvPr/>
              </p:nvSpPr>
              <p:spPr bwMode="auto">
                <a:xfrm>
                  <a:off x="92959" y="1795499"/>
                  <a:ext cx="511" cy="14"/>
                </a:xfrm>
                <a:prstGeom prst="rect">
                  <a:avLst/>
                </a:prstGeom>
                <a:solidFill>
                  <a:srgbClr val="D0C6D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51" name="Rectangle 450"/>
                <p:cNvSpPr>
                  <a:spLocks noChangeArrowheads="1"/>
                </p:cNvSpPr>
                <p:nvPr/>
              </p:nvSpPr>
              <p:spPr bwMode="auto">
                <a:xfrm>
                  <a:off x="92959" y="1795513"/>
                  <a:ext cx="511" cy="24"/>
                </a:xfrm>
                <a:prstGeom prst="rect">
                  <a:avLst/>
                </a:prstGeom>
                <a:solidFill>
                  <a:srgbClr val="CFC4D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52" name="Rectangle 451"/>
                <p:cNvSpPr>
                  <a:spLocks noChangeArrowheads="1"/>
                </p:cNvSpPr>
                <p:nvPr/>
              </p:nvSpPr>
              <p:spPr bwMode="auto">
                <a:xfrm>
                  <a:off x="92959" y="1795537"/>
                  <a:ext cx="511" cy="21"/>
                </a:xfrm>
                <a:prstGeom prst="rect">
                  <a:avLst/>
                </a:prstGeom>
                <a:solidFill>
                  <a:srgbClr val="CEC3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53" name="Rectangle 452"/>
                <p:cNvSpPr>
                  <a:spLocks noChangeArrowheads="1"/>
                </p:cNvSpPr>
                <p:nvPr/>
              </p:nvSpPr>
              <p:spPr bwMode="auto">
                <a:xfrm>
                  <a:off x="92959" y="1795558"/>
                  <a:ext cx="511" cy="38"/>
                </a:xfrm>
                <a:prstGeom prst="rect">
                  <a:avLst/>
                </a:prstGeom>
                <a:solidFill>
                  <a:srgbClr val="CCC0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54" name="Rectangle 453"/>
                <p:cNvSpPr>
                  <a:spLocks noChangeArrowheads="1"/>
                </p:cNvSpPr>
                <p:nvPr/>
              </p:nvSpPr>
              <p:spPr bwMode="auto">
                <a:xfrm>
                  <a:off x="92960" y="1795038"/>
                  <a:ext cx="510" cy="558"/>
                </a:xfrm>
                <a:prstGeom prst="rect">
                  <a:avLst/>
                </a:prstGeom>
                <a:noFill/>
                <a:ln w="8" cap="rnd">
                  <a:solidFill>
                    <a:srgbClr val="B2A1C7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400" name="Rectangle 399"/>
              <p:cNvSpPr>
                <a:spLocks noChangeArrowheads="1"/>
              </p:cNvSpPr>
              <p:nvPr/>
            </p:nvSpPr>
            <p:spPr bwMode="auto">
              <a:xfrm>
                <a:off x="213822" y="1852843"/>
                <a:ext cx="596666" cy="1709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 dirty="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Evaluation</a:t>
                </a:r>
                <a:endParaRPr lang="en-GB" sz="1200" dirty="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1" name="Rectangle 400"/>
              <p:cNvSpPr>
                <a:spLocks noChangeArrowheads="1"/>
              </p:cNvSpPr>
              <p:nvPr/>
            </p:nvSpPr>
            <p:spPr bwMode="auto">
              <a:xfrm>
                <a:off x="872445" y="1852843"/>
                <a:ext cx="31738" cy="175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2" name="Rectangle 401"/>
              <p:cNvSpPr>
                <a:spLocks noChangeArrowheads="1"/>
              </p:cNvSpPr>
              <p:nvPr/>
            </p:nvSpPr>
            <p:spPr bwMode="auto">
              <a:xfrm>
                <a:off x="282138" y="2068298"/>
                <a:ext cx="97752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M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3" name="Rectangle 402"/>
              <p:cNvSpPr>
                <a:spLocks noChangeArrowheads="1"/>
              </p:cNvSpPr>
              <p:nvPr/>
            </p:nvSpPr>
            <p:spPr bwMode="auto">
              <a:xfrm>
                <a:off x="388988" y="2068298"/>
                <a:ext cx="86326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id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4" name="Rectangle 403"/>
              <p:cNvSpPr>
                <a:spLocks noChangeArrowheads="1"/>
              </p:cNvSpPr>
              <p:nvPr/>
            </p:nvSpPr>
            <p:spPr bwMode="auto">
              <a:xfrm>
                <a:off x="483578" y="2068298"/>
                <a:ext cx="35546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-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5" name="Rectangle 404"/>
              <p:cNvSpPr>
                <a:spLocks noChangeArrowheads="1"/>
              </p:cNvSpPr>
              <p:nvPr/>
            </p:nvSpPr>
            <p:spPr bwMode="auto">
              <a:xfrm>
                <a:off x="522114" y="2068298"/>
                <a:ext cx="255170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term,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6" name="Rectangle 405"/>
              <p:cNvSpPr>
                <a:spLocks noChangeArrowheads="1"/>
              </p:cNvSpPr>
              <p:nvPr/>
            </p:nvSpPr>
            <p:spPr bwMode="auto">
              <a:xfrm>
                <a:off x="431029" y="2246969"/>
                <a:ext cx="202486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 dirty="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final </a:t>
                </a:r>
                <a:endParaRPr lang="en-GB" sz="1200" dirty="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7" name="Rectangle 406"/>
              <p:cNvSpPr>
                <a:spLocks noChangeArrowheads="1"/>
              </p:cNvSpPr>
              <p:nvPr/>
            </p:nvSpPr>
            <p:spPr bwMode="auto">
              <a:xfrm>
                <a:off x="683267" y="2246969"/>
                <a:ext cx="26025" cy="175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8" name="Rectangle 407"/>
              <p:cNvSpPr>
                <a:spLocks noChangeArrowheads="1"/>
              </p:cNvSpPr>
              <p:nvPr/>
            </p:nvSpPr>
            <p:spPr bwMode="auto">
              <a:xfrm>
                <a:off x="353955" y="2423887"/>
                <a:ext cx="55858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E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09" name="Rectangle 408"/>
              <p:cNvSpPr>
                <a:spLocks noChangeArrowheads="1"/>
              </p:cNvSpPr>
              <p:nvPr/>
            </p:nvSpPr>
            <p:spPr bwMode="auto">
              <a:xfrm>
                <a:off x="417015" y="2423887"/>
                <a:ext cx="49511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x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10" name="Rectangle 409"/>
              <p:cNvSpPr>
                <a:spLocks noChangeArrowheads="1"/>
              </p:cNvSpPr>
              <p:nvPr/>
            </p:nvSpPr>
            <p:spPr bwMode="auto">
              <a:xfrm>
                <a:off x="469564" y="2423887"/>
                <a:ext cx="35546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-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11" name="Rectangle 410"/>
              <p:cNvSpPr>
                <a:spLocks noChangeArrowheads="1"/>
              </p:cNvSpPr>
              <p:nvPr/>
            </p:nvSpPr>
            <p:spPr bwMode="auto">
              <a:xfrm>
                <a:off x="508101" y="2423887"/>
                <a:ext cx="203755" cy="1398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post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412" name="Rectangle 411"/>
              <p:cNvSpPr>
                <a:spLocks noChangeArrowheads="1"/>
              </p:cNvSpPr>
              <p:nvPr/>
            </p:nvSpPr>
            <p:spPr bwMode="auto">
              <a:xfrm>
                <a:off x="732313" y="2423887"/>
                <a:ext cx="26025" cy="175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9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45" name="Group 44"/>
            <p:cNvGrpSpPr>
              <a:grpSpLocks/>
            </p:cNvGrpSpPr>
            <p:nvPr/>
          </p:nvGrpSpPr>
          <p:grpSpPr bwMode="auto">
            <a:xfrm>
              <a:off x="80963" y="1166814"/>
              <a:ext cx="960437" cy="448707"/>
              <a:chOff x="80963" y="1166813"/>
              <a:chExt cx="959915" cy="448400"/>
            </a:xfrm>
          </p:grpSpPr>
          <p:grpSp>
            <p:nvGrpSpPr>
              <p:cNvPr id="355" name="Group 354"/>
              <p:cNvGrpSpPr>
                <a:grpSpLocks/>
              </p:cNvGrpSpPr>
              <p:nvPr/>
            </p:nvGrpSpPr>
            <p:grpSpPr bwMode="auto">
              <a:xfrm>
                <a:off x="80963" y="1166813"/>
                <a:ext cx="959915" cy="364347"/>
                <a:chOff x="80963" y="1166813"/>
                <a:chExt cx="548" cy="208"/>
              </a:xfrm>
            </p:grpSpPr>
            <p:sp>
              <p:nvSpPr>
                <p:cNvPr id="359" name="Rectangle 358"/>
                <p:cNvSpPr>
                  <a:spLocks noChangeArrowheads="1"/>
                </p:cNvSpPr>
                <p:nvPr/>
              </p:nvSpPr>
              <p:spPr bwMode="auto">
                <a:xfrm>
                  <a:off x="80971" y="1166828"/>
                  <a:ext cx="540" cy="192"/>
                </a:xfrm>
                <a:prstGeom prst="rect">
                  <a:avLst/>
                </a:prstGeom>
                <a:solidFill>
                  <a:srgbClr val="3F31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pic>
              <p:nvPicPr>
                <p:cNvPr id="360" name="Picture 359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0971" y="1166829"/>
                  <a:ext cx="540" cy="1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61" name="Rectangle 360"/>
                <p:cNvSpPr>
                  <a:spLocks noChangeArrowheads="1"/>
                </p:cNvSpPr>
                <p:nvPr/>
              </p:nvSpPr>
              <p:spPr bwMode="auto">
                <a:xfrm>
                  <a:off x="80971" y="1166828"/>
                  <a:ext cx="540" cy="192"/>
                </a:xfrm>
                <a:prstGeom prst="rect">
                  <a:avLst/>
                </a:prstGeom>
                <a:solidFill>
                  <a:srgbClr val="3F31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2" name="Rectangle 361"/>
                <p:cNvSpPr>
                  <a:spLocks noChangeArrowheads="1"/>
                </p:cNvSpPr>
                <p:nvPr/>
              </p:nvSpPr>
              <p:spPr bwMode="auto">
                <a:xfrm>
                  <a:off x="80963" y="1166813"/>
                  <a:ext cx="540" cy="1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3" name="Rectangle 362"/>
                <p:cNvSpPr>
                  <a:spLocks noChangeArrowheads="1"/>
                </p:cNvSpPr>
                <p:nvPr/>
              </p:nvSpPr>
              <p:spPr bwMode="auto">
                <a:xfrm>
                  <a:off x="80963" y="1166829"/>
                  <a:ext cx="540" cy="10"/>
                </a:xfrm>
                <a:prstGeom prst="rect">
                  <a:avLst/>
                </a:prstGeom>
                <a:solidFill>
                  <a:srgbClr val="FEFD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4" name="Rectangle 363"/>
                <p:cNvSpPr>
                  <a:spLocks noChangeArrowheads="1"/>
                </p:cNvSpPr>
                <p:nvPr/>
              </p:nvSpPr>
              <p:spPr bwMode="auto">
                <a:xfrm>
                  <a:off x="80963" y="1166839"/>
                  <a:ext cx="540" cy="8"/>
                </a:xfrm>
                <a:prstGeom prst="rect">
                  <a:avLst/>
                </a:prstGeom>
                <a:solidFill>
                  <a:srgbClr val="FCFC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5" name="Rectangle 364"/>
                <p:cNvSpPr>
                  <a:spLocks noChangeArrowheads="1"/>
                </p:cNvSpPr>
                <p:nvPr/>
              </p:nvSpPr>
              <p:spPr bwMode="auto">
                <a:xfrm>
                  <a:off x="80963" y="1166847"/>
                  <a:ext cx="540" cy="9"/>
                </a:xfrm>
                <a:prstGeom prst="rect">
                  <a:avLst/>
                </a:prstGeom>
                <a:solidFill>
                  <a:srgbClr val="FBFA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6" name="Rectangle 365"/>
                <p:cNvSpPr>
                  <a:spLocks noChangeArrowheads="1"/>
                </p:cNvSpPr>
                <p:nvPr/>
              </p:nvSpPr>
              <p:spPr bwMode="auto">
                <a:xfrm>
                  <a:off x="80963" y="1166856"/>
                  <a:ext cx="540" cy="7"/>
                </a:xfrm>
                <a:prstGeom prst="rect">
                  <a:avLst/>
                </a:prstGeom>
                <a:solidFill>
                  <a:srgbClr val="F9F8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7" name="Rectangle 366"/>
                <p:cNvSpPr>
                  <a:spLocks noChangeArrowheads="1"/>
                </p:cNvSpPr>
                <p:nvPr/>
              </p:nvSpPr>
              <p:spPr bwMode="auto">
                <a:xfrm>
                  <a:off x="80963" y="1166863"/>
                  <a:ext cx="540" cy="5"/>
                </a:xfrm>
                <a:prstGeom prst="rect">
                  <a:avLst/>
                </a:prstGeom>
                <a:solidFill>
                  <a:srgbClr val="F8F6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8" name="Rectangle 367"/>
                <p:cNvSpPr>
                  <a:spLocks noChangeArrowheads="1"/>
                </p:cNvSpPr>
                <p:nvPr/>
              </p:nvSpPr>
              <p:spPr bwMode="auto">
                <a:xfrm>
                  <a:off x="80963" y="1166868"/>
                  <a:ext cx="540" cy="6"/>
                </a:xfrm>
                <a:prstGeom prst="rect">
                  <a:avLst/>
                </a:prstGeom>
                <a:solidFill>
                  <a:srgbClr val="F6F4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9" name="Rectangle 368"/>
                <p:cNvSpPr>
                  <a:spLocks noChangeArrowheads="1"/>
                </p:cNvSpPr>
                <p:nvPr/>
              </p:nvSpPr>
              <p:spPr bwMode="auto">
                <a:xfrm>
                  <a:off x="80963" y="1166874"/>
                  <a:ext cx="540" cy="6"/>
                </a:xfrm>
                <a:prstGeom prst="rect">
                  <a:avLst/>
                </a:prstGeom>
                <a:solidFill>
                  <a:srgbClr val="F4F2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0" name="Rectangle 369"/>
                <p:cNvSpPr>
                  <a:spLocks noChangeArrowheads="1"/>
                </p:cNvSpPr>
                <p:nvPr/>
              </p:nvSpPr>
              <p:spPr bwMode="auto">
                <a:xfrm>
                  <a:off x="80963" y="1166880"/>
                  <a:ext cx="540" cy="4"/>
                </a:xfrm>
                <a:prstGeom prst="rect">
                  <a:avLst/>
                </a:prstGeom>
                <a:solidFill>
                  <a:srgbClr val="F2F0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1" name="Rectangle 370"/>
                <p:cNvSpPr>
                  <a:spLocks noChangeArrowheads="1"/>
                </p:cNvSpPr>
                <p:nvPr/>
              </p:nvSpPr>
              <p:spPr bwMode="auto">
                <a:xfrm>
                  <a:off x="80963" y="1166884"/>
                  <a:ext cx="540" cy="4"/>
                </a:xfrm>
                <a:prstGeom prst="rect">
                  <a:avLst/>
                </a:prstGeom>
                <a:solidFill>
                  <a:srgbClr val="F1EE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2" name="Rectangle 371"/>
                <p:cNvSpPr>
                  <a:spLocks noChangeArrowheads="1"/>
                </p:cNvSpPr>
                <p:nvPr/>
              </p:nvSpPr>
              <p:spPr bwMode="auto">
                <a:xfrm>
                  <a:off x="80963" y="1166888"/>
                  <a:ext cx="540" cy="4"/>
                </a:xfrm>
                <a:prstGeom prst="rect">
                  <a:avLst/>
                </a:prstGeom>
                <a:solidFill>
                  <a:srgbClr val="F0EC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3" name="Rectangle 372"/>
                <p:cNvSpPr>
                  <a:spLocks noChangeArrowheads="1"/>
                </p:cNvSpPr>
                <p:nvPr/>
              </p:nvSpPr>
              <p:spPr bwMode="auto">
                <a:xfrm>
                  <a:off x="80963" y="1166892"/>
                  <a:ext cx="540" cy="4"/>
                </a:xfrm>
                <a:prstGeom prst="rect">
                  <a:avLst/>
                </a:prstGeom>
                <a:solidFill>
                  <a:srgbClr val="EEEA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4" name="Rectangle 373"/>
                <p:cNvSpPr>
                  <a:spLocks noChangeArrowheads="1"/>
                </p:cNvSpPr>
                <p:nvPr/>
              </p:nvSpPr>
              <p:spPr bwMode="auto">
                <a:xfrm>
                  <a:off x="80963" y="1166896"/>
                  <a:ext cx="540" cy="3"/>
                </a:xfrm>
                <a:prstGeom prst="rect">
                  <a:avLst/>
                </a:prstGeom>
                <a:solidFill>
                  <a:srgbClr val="ECE9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5" name="Rectangle 374"/>
                <p:cNvSpPr>
                  <a:spLocks noChangeArrowheads="1"/>
                </p:cNvSpPr>
                <p:nvPr/>
              </p:nvSpPr>
              <p:spPr bwMode="auto">
                <a:xfrm>
                  <a:off x="80963" y="1166899"/>
                  <a:ext cx="540" cy="3"/>
                </a:xfrm>
                <a:prstGeom prst="rect">
                  <a:avLst/>
                </a:prstGeom>
                <a:solidFill>
                  <a:srgbClr val="EBE7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6" name="Rectangle 375"/>
                <p:cNvSpPr>
                  <a:spLocks noChangeArrowheads="1"/>
                </p:cNvSpPr>
                <p:nvPr/>
              </p:nvSpPr>
              <p:spPr bwMode="auto">
                <a:xfrm>
                  <a:off x="80963" y="1166902"/>
                  <a:ext cx="540" cy="5"/>
                </a:xfrm>
                <a:prstGeom prst="rect">
                  <a:avLst/>
                </a:prstGeom>
                <a:solidFill>
                  <a:srgbClr val="EAE5E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7" name="Rectangle 376"/>
                <p:cNvSpPr>
                  <a:spLocks noChangeArrowheads="1"/>
                </p:cNvSpPr>
                <p:nvPr/>
              </p:nvSpPr>
              <p:spPr bwMode="auto">
                <a:xfrm>
                  <a:off x="80963" y="1166907"/>
                  <a:ext cx="540" cy="4"/>
                </a:xfrm>
                <a:prstGeom prst="rect">
                  <a:avLst/>
                </a:prstGeom>
                <a:solidFill>
                  <a:srgbClr val="E8E3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8" name="Rectangle 377"/>
                <p:cNvSpPr>
                  <a:spLocks noChangeArrowheads="1"/>
                </p:cNvSpPr>
                <p:nvPr/>
              </p:nvSpPr>
              <p:spPr bwMode="auto">
                <a:xfrm>
                  <a:off x="80963" y="1166911"/>
                  <a:ext cx="540" cy="3"/>
                </a:xfrm>
                <a:prstGeom prst="rect">
                  <a:avLst/>
                </a:prstGeom>
                <a:solidFill>
                  <a:srgbClr val="E6E1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9" name="Rectangle 378"/>
                <p:cNvSpPr>
                  <a:spLocks noChangeArrowheads="1"/>
                </p:cNvSpPr>
                <p:nvPr/>
              </p:nvSpPr>
              <p:spPr bwMode="auto">
                <a:xfrm>
                  <a:off x="80963" y="1166914"/>
                  <a:ext cx="540" cy="3"/>
                </a:xfrm>
                <a:prstGeom prst="rect">
                  <a:avLst/>
                </a:prstGeom>
                <a:solidFill>
                  <a:srgbClr val="E5DF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0" name="Rectangle 379"/>
                <p:cNvSpPr>
                  <a:spLocks noChangeArrowheads="1"/>
                </p:cNvSpPr>
                <p:nvPr/>
              </p:nvSpPr>
              <p:spPr bwMode="auto">
                <a:xfrm>
                  <a:off x="80963" y="1166917"/>
                  <a:ext cx="540" cy="4"/>
                </a:xfrm>
                <a:prstGeom prst="rect">
                  <a:avLst/>
                </a:prstGeom>
                <a:solidFill>
                  <a:srgbClr val="E3DDE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1" name="Rectangle 380"/>
                <p:cNvSpPr>
                  <a:spLocks noChangeArrowheads="1"/>
                </p:cNvSpPr>
                <p:nvPr/>
              </p:nvSpPr>
              <p:spPr bwMode="auto">
                <a:xfrm>
                  <a:off x="80963" y="1166921"/>
                  <a:ext cx="540" cy="4"/>
                </a:xfrm>
                <a:prstGeom prst="rect">
                  <a:avLst/>
                </a:prstGeom>
                <a:solidFill>
                  <a:srgbClr val="E2DBE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2" name="Rectangle 381"/>
                <p:cNvSpPr>
                  <a:spLocks noChangeArrowheads="1"/>
                </p:cNvSpPr>
                <p:nvPr/>
              </p:nvSpPr>
              <p:spPr bwMode="auto">
                <a:xfrm>
                  <a:off x="80963" y="1166925"/>
                  <a:ext cx="540" cy="3"/>
                </a:xfrm>
                <a:prstGeom prst="rect">
                  <a:avLst/>
                </a:prstGeom>
                <a:solidFill>
                  <a:srgbClr val="E0D9E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3" name="Rectangle 382"/>
                <p:cNvSpPr>
                  <a:spLocks noChangeArrowheads="1"/>
                </p:cNvSpPr>
                <p:nvPr/>
              </p:nvSpPr>
              <p:spPr bwMode="auto">
                <a:xfrm>
                  <a:off x="80963" y="1166928"/>
                  <a:ext cx="540" cy="4"/>
                </a:xfrm>
                <a:prstGeom prst="rect">
                  <a:avLst/>
                </a:prstGeom>
                <a:solidFill>
                  <a:srgbClr val="DED7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4" name="Rectangle 383"/>
                <p:cNvSpPr>
                  <a:spLocks noChangeArrowheads="1"/>
                </p:cNvSpPr>
                <p:nvPr/>
              </p:nvSpPr>
              <p:spPr bwMode="auto">
                <a:xfrm>
                  <a:off x="80963" y="1166932"/>
                  <a:ext cx="540" cy="4"/>
                </a:xfrm>
                <a:prstGeom prst="rect">
                  <a:avLst/>
                </a:prstGeom>
                <a:solidFill>
                  <a:srgbClr val="DDD5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5" name="Rectangle 384"/>
                <p:cNvSpPr>
                  <a:spLocks noChangeArrowheads="1"/>
                </p:cNvSpPr>
                <p:nvPr/>
              </p:nvSpPr>
              <p:spPr bwMode="auto">
                <a:xfrm>
                  <a:off x="80963" y="1166936"/>
                  <a:ext cx="540" cy="4"/>
                </a:xfrm>
                <a:prstGeom prst="rect">
                  <a:avLst/>
                </a:prstGeom>
                <a:solidFill>
                  <a:srgbClr val="DBD3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6" name="Rectangle 385"/>
                <p:cNvSpPr>
                  <a:spLocks noChangeArrowheads="1"/>
                </p:cNvSpPr>
                <p:nvPr/>
              </p:nvSpPr>
              <p:spPr bwMode="auto">
                <a:xfrm>
                  <a:off x="80963" y="1166940"/>
                  <a:ext cx="540" cy="4"/>
                </a:xfrm>
                <a:prstGeom prst="rect">
                  <a:avLst/>
                </a:prstGeom>
                <a:solidFill>
                  <a:srgbClr val="D9D1E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7" name="Rectangle 386"/>
                <p:cNvSpPr>
                  <a:spLocks noChangeArrowheads="1"/>
                </p:cNvSpPr>
                <p:nvPr/>
              </p:nvSpPr>
              <p:spPr bwMode="auto">
                <a:xfrm>
                  <a:off x="80963" y="1166944"/>
                  <a:ext cx="540" cy="5"/>
                </a:xfrm>
                <a:prstGeom prst="rect">
                  <a:avLst/>
                </a:prstGeom>
                <a:solidFill>
                  <a:srgbClr val="D8CFE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8" name="Rectangle 387"/>
                <p:cNvSpPr>
                  <a:spLocks noChangeArrowheads="1"/>
                </p:cNvSpPr>
                <p:nvPr/>
              </p:nvSpPr>
              <p:spPr bwMode="auto">
                <a:xfrm>
                  <a:off x="80963" y="1166949"/>
                  <a:ext cx="540" cy="6"/>
                </a:xfrm>
                <a:prstGeom prst="rect">
                  <a:avLst/>
                </a:prstGeom>
                <a:solidFill>
                  <a:srgbClr val="D6CD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9" name="Rectangle 388"/>
                <p:cNvSpPr>
                  <a:spLocks noChangeArrowheads="1"/>
                </p:cNvSpPr>
                <p:nvPr/>
              </p:nvSpPr>
              <p:spPr bwMode="auto">
                <a:xfrm>
                  <a:off x="80963" y="1166955"/>
                  <a:ext cx="540" cy="4"/>
                </a:xfrm>
                <a:prstGeom prst="rect">
                  <a:avLst/>
                </a:prstGeom>
                <a:solidFill>
                  <a:srgbClr val="D5CB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0" name="Rectangle 389"/>
                <p:cNvSpPr>
                  <a:spLocks noChangeArrowheads="1"/>
                </p:cNvSpPr>
                <p:nvPr/>
              </p:nvSpPr>
              <p:spPr bwMode="auto">
                <a:xfrm>
                  <a:off x="80963" y="1166959"/>
                  <a:ext cx="540" cy="5"/>
                </a:xfrm>
                <a:prstGeom prst="rect">
                  <a:avLst/>
                </a:prstGeom>
                <a:solidFill>
                  <a:srgbClr val="D3C9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1" name="Rectangle 390"/>
                <p:cNvSpPr>
                  <a:spLocks noChangeArrowheads="1"/>
                </p:cNvSpPr>
                <p:nvPr/>
              </p:nvSpPr>
              <p:spPr bwMode="auto">
                <a:xfrm>
                  <a:off x="80963" y="1166964"/>
                  <a:ext cx="540" cy="6"/>
                </a:xfrm>
                <a:prstGeom prst="rect">
                  <a:avLst/>
                </a:prstGeom>
                <a:solidFill>
                  <a:srgbClr val="D2C7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2" name="Rectangle 391"/>
                <p:cNvSpPr>
                  <a:spLocks noChangeArrowheads="1"/>
                </p:cNvSpPr>
                <p:nvPr/>
              </p:nvSpPr>
              <p:spPr bwMode="auto">
                <a:xfrm>
                  <a:off x="80963" y="1166970"/>
                  <a:ext cx="540" cy="6"/>
                </a:xfrm>
                <a:prstGeom prst="rect">
                  <a:avLst/>
                </a:prstGeom>
                <a:solidFill>
                  <a:srgbClr val="D0C6D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3" name="Rectangle 392"/>
                <p:cNvSpPr>
                  <a:spLocks noChangeArrowheads="1"/>
                </p:cNvSpPr>
                <p:nvPr/>
              </p:nvSpPr>
              <p:spPr bwMode="auto">
                <a:xfrm>
                  <a:off x="80963" y="1166976"/>
                  <a:ext cx="540" cy="9"/>
                </a:xfrm>
                <a:prstGeom prst="rect">
                  <a:avLst/>
                </a:prstGeom>
                <a:solidFill>
                  <a:srgbClr val="CFC4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4" name="Rectangle 393"/>
                <p:cNvSpPr>
                  <a:spLocks noChangeArrowheads="1"/>
                </p:cNvSpPr>
                <p:nvPr/>
              </p:nvSpPr>
              <p:spPr bwMode="auto">
                <a:xfrm>
                  <a:off x="80963" y="1166985"/>
                  <a:ext cx="540" cy="12"/>
                </a:xfrm>
                <a:prstGeom prst="rect">
                  <a:avLst/>
                </a:prstGeom>
                <a:solidFill>
                  <a:srgbClr val="CEC2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5" name="Rectangle 394"/>
                <p:cNvSpPr>
                  <a:spLocks noChangeArrowheads="1"/>
                </p:cNvSpPr>
                <p:nvPr/>
              </p:nvSpPr>
              <p:spPr bwMode="auto">
                <a:xfrm>
                  <a:off x="80963" y="1166997"/>
                  <a:ext cx="540" cy="8"/>
                </a:xfrm>
                <a:prstGeom prst="rect">
                  <a:avLst/>
                </a:prstGeom>
                <a:solidFill>
                  <a:srgbClr val="CCC0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96" name="Rectangle 395"/>
                <p:cNvSpPr>
                  <a:spLocks noChangeArrowheads="1"/>
                </p:cNvSpPr>
                <p:nvPr/>
              </p:nvSpPr>
              <p:spPr bwMode="auto">
                <a:xfrm>
                  <a:off x="80963" y="1166813"/>
                  <a:ext cx="540" cy="192"/>
                </a:xfrm>
                <a:prstGeom prst="rect">
                  <a:avLst/>
                </a:prstGeom>
                <a:noFill/>
                <a:ln w="8" cap="rnd">
                  <a:solidFill>
                    <a:srgbClr val="B2A1C7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56" name="Rectangle 355"/>
              <p:cNvSpPr>
                <a:spLocks noChangeArrowheads="1"/>
              </p:cNvSpPr>
              <p:nvPr/>
            </p:nvSpPr>
            <p:spPr bwMode="auto">
              <a:xfrm>
                <a:off x="385750" y="1222866"/>
                <a:ext cx="306538" cy="170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Audit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57" name="Rectangle 356"/>
              <p:cNvSpPr>
                <a:spLocks noChangeArrowheads="1"/>
              </p:cNvSpPr>
              <p:nvPr/>
            </p:nvSpPr>
            <p:spPr bwMode="auto">
              <a:xfrm>
                <a:off x="723820" y="1222866"/>
                <a:ext cx="31733" cy="1751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58" name="Rectangle 357"/>
              <p:cNvSpPr>
                <a:spLocks noChangeArrowheads="1"/>
              </p:cNvSpPr>
              <p:nvPr/>
            </p:nvSpPr>
            <p:spPr bwMode="auto">
              <a:xfrm>
                <a:off x="555661" y="1440073"/>
                <a:ext cx="31733" cy="1751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46" name="Group 45"/>
            <p:cNvGrpSpPr>
              <a:grpSpLocks/>
            </p:cNvGrpSpPr>
            <p:nvPr/>
          </p:nvGrpSpPr>
          <p:grpSpPr bwMode="auto">
            <a:xfrm>
              <a:off x="3629025" y="0"/>
              <a:ext cx="2679700" cy="1222376"/>
              <a:chOff x="3629025" y="0"/>
              <a:chExt cx="2680056" cy="1222666"/>
            </a:xfrm>
          </p:grpSpPr>
          <p:grpSp>
            <p:nvGrpSpPr>
              <p:cNvPr id="331" name="Group 330"/>
              <p:cNvGrpSpPr>
                <a:grpSpLocks/>
              </p:cNvGrpSpPr>
              <p:nvPr/>
            </p:nvGrpSpPr>
            <p:grpSpPr bwMode="auto">
              <a:xfrm>
                <a:off x="4459317" y="0"/>
                <a:ext cx="1240183" cy="777741"/>
                <a:chOff x="4459317" y="0"/>
                <a:chExt cx="1240183" cy="777741"/>
              </a:xfrm>
            </p:grpSpPr>
            <p:grpSp>
              <p:nvGrpSpPr>
                <p:cNvPr id="347" name="Group 346"/>
                <p:cNvGrpSpPr>
                  <a:grpSpLocks/>
                </p:cNvGrpSpPr>
                <p:nvPr/>
              </p:nvGrpSpPr>
              <p:grpSpPr bwMode="auto">
                <a:xfrm>
                  <a:off x="4459317" y="0"/>
                  <a:ext cx="1240183" cy="777741"/>
                  <a:chOff x="4459317" y="0"/>
                  <a:chExt cx="708" cy="444"/>
                </a:xfrm>
              </p:grpSpPr>
              <p:sp>
                <p:nvSpPr>
                  <p:cNvPr id="353" name="Rectangle 352"/>
                  <p:cNvSpPr>
                    <a:spLocks noChangeArrowheads="1"/>
                  </p:cNvSpPr>
                  <p:nvPr/>
                </p:nvSpPr>
                <p:spPr bwMode="auto">
                  <a:xfrm>
                    <a:off x="4459317" y="0"/>
                    <a:ext cx="708" cy="444"/>
                  </a:xfrm>
                  <a:prstGeom prst="rect">
                    <a:avLst/>
                  </a:prstGeom>
                  <a:solidFill>
                    <a:srgbClr val="FFF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354" name="Rectangle 353"/>
                  <p:cNvSpPr>
                    <a:spLocks noChangeArrowheads="1"/>
                  </p:cNvSpPr>
                  <p:nvPr/>
                </p:nvSpPr>
                <p:spPr bwMode="auto">
                  <a:xfrm>
                    <a:off x="4459317" y="0"/>
                    <a:ext cx="708" cy="444"/>
                  </a:xfrm>
                  <a:prstGeom prst="rect">
                    <a:avLst/>
                  </a:prstGeom>
                  <a:noFill/>
                  <a:ln w="24" cap="rnd">
                    <a:solidFill>
                      <a:srgbClr val="F2F2F2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sp>
              <p:nvSpPr>
                <p:cNvPr id="348" name="Rectangle 347"/>
                <p:cNvSpPr>
                  <a:spLocks noChangeArrowheads="1"/>
                </p:cNvSpPr>
                <p:nvPr/>
              </p:nvSpPr>
              <p:spPr bwMode="auto">
                <a:xfrm>
                  <a:off x="4581898" y="70067"/>
                  <a:ext cx="314367" cy="1708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fontAlgn="base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b="1" kern="1200">
                      <a:solidFill>
                        <a:srgbClr val="000000"/>
                      </a:solidFill>
                      <a:effectLst/>
                      <a:latin typeface="Calibri"/>
                      <a:ea typeface="Times New Roman"/>
                      <a:cs typeface="Times New Roman"/>
                    </a:rPr>
                    <a:t>Multi</a:t>
                  </a:r>
                  <a:endParaRPr lang="en-GB" sz="1200"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49" name="Rectangle 348"/>
                <p:cNvSpPr>
                  <a:spLocks noChangeArrowheads="1"/>
                </p:cNvSpPr>
                <p:nvPr/>
              </p:nvSpPr>
              <p:spPr bwMode="auto">
                <a:xfrm>
                  <a:off x="4976021" y="70067"/>
                  <a:ext cx="413440" cy="1708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fontAlgn="base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b="1" kern="1200">
                      <a:solidFill>
                        <a:srgbClr val="000000"/>
                      </a:solidFill>
                      <a:effectLst/>
                      <a:latin typeface="Calibri"/>
                      <a:ea typeface="Times New Roman"/>
                      <a:cs typeface="Times New Roman"/>
                    </a:rPr>
                    <a:t>Annual </a:t>
                  </a:r>
                  <a:endParaRPr lang="en-GB" sz="1200"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50" name="Rectangle 349"/>
                <p:cNvSpPr>
                  <a:spLocks noChangeArrowheads="1"/>
                </p:cNvSpPr>
                <p:nvPr/>
              </p:nvSpPr>
              <p:spPr bwMode="auto">
                <a:xfrm>
                  <a:off x="4581898" y="285523"/>
                  <a:ext cx="787505" cy="1708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fontAlgn="base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b="1" kern="1200">
                      <a:solidFill>
                        <a:srgbClr val="000000"/>
                      </a:solidFill>
                      <a:effectLst/>
                      <a:latin typeface="Calibri"/>
                      <a:ea typeface="Times New Roman"/>
                      <a:cs typeface="Times New Roman"/>
                    </a:rPr>
                    <a:t>Programming </a:t>
                  </a:r>
                  <a:endParaRPr lang="en-GB" sz="1200"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51" name="Rectangle 350"/>
                <p:cNvSpPr>
                  <a:spLocks noChangeArrowheads="1"/>
                </p:cNvSpPr>
                <p:nvPr/>
              </p:nvSpPr>
              <p:spPr bwMode="auto">
                <a:xfrm>
                  <a:off x="4581898" y="504481"/>
                  <a:ext cx="283883" cy="1708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fontAlgn="base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b="1" kern="1200">
                      <a:solidFill>
                        <a:srgbClr val="000000"/>
                      </a:solidFill>
                      <a:effectLst/>
                      <a:latin typeface="Calibri"/>
                      <a:ea typeface="Times New Roman"/>
                      <a:cs typeface="Times New Roman"/>
                    </a:rPr>
                    <a:t>docu</a:t>
                  </a:r>
                  <a:endParaRPr lang="en-GB" sz="1200"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52" name="Rectangle 351"/>
                <p:cNvSpPr>
                  <a:spLocks noChangeArrowheads="1"/>
                </p:cNvSpPr>
                <p:nvPr/>
              </p:nvSpPr>
              <p:spPr bwMode="auto">
                <a:xfrm>
                  <a:off x="4868293" y="504481"/>
                  <a:ext cx="308016" cy="1708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fontAlgn="base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b="1" kern="1200">
                      <a:solidFill>
                        <a:srgbClr val="000000"/>
                      </a:solidFill>
                      <a:effectLst/>
                      <a:latin typeface="Calibri"/>
                      <a:ea typeface="Times New Roman"/>
                      <a:cs typeface="Times New Roman"/>
                    </a:rPr>
                    <a:t>ment</a:t>
                  </a:r>
                  <a:endParaRPr lang="en-GB" sz="1200">
                    <a:effectLst/>
                    <a:latin typeface="Times New Roman"/>
                    <a:ea typeface="Times New Roman"/>
                  </a:endParaRPr>
                </a:p>
              </p:txBody>
            </p:sp>
          </p:grpSp>
          <p:grpSp>
            <p:nvGrpSpPr>
              <p:cNvPr id="332" name="Group 331"/>
              <p:cNvGrpSpPr>
                <a:grpSpLocks/>
              </p:cNvGrpSpPr>
              <p:nvPr/>
            </p:nvGrpSpPr>
            <p:grpSpPr bwMode="auto">
              <a:xfrm>
                <a:off x="3629025" y="914372"/>
                <a:ext cx="861822" cy="301287"/>
                <a:chOff x="3629025" y="914372"/>
                <a:chExt cx="492" cy="172"/>
              </a:xfrm>
            </p:grpSpPr>
            <p:sp>
              <p:nvSpPr>
                <p:cNvPr id="345" name="Rectangle 344"/>
                <p:cNvSpPr>
                  <a:spLocks noChangeArrowheads="1"/>
                </p:cNvSpPr>
                <p:nvPr/>
              </p:nvSpPr>
              <p:spPr bwMode="auto">
                <a:xfrm>
                  <a:off x="3629025" y="914372"/>
                  <a:ext cx="492" cy="172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46" name="Rectangle 345"/>
                <p:cNvSpPr>
                  <a:spLocks noChangeArrowheads="1"/>
                </p:cNvSpPr>
                <p:nvPr/>
              </p:nvSpPr>
              <p:spPr bwMode="auto">
                <a:xfrm>
                  <a:off x="3629025" y="914372"/>
                  <a:ext cx="492" cy="172"/>
                </a:xfrm>
                <a:prstGeom prst="rect">
                  <a:avLst/>
                </a:prstGeom>
                <a:noFill/>
                <a:ln w="24" cap="rnd">
                  <a:solidFill>
                    <a:srgbClr val="EEECE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33" name="Rectangle 332"/>
              <p:cNvSpPr>
                <a:spLocks noChangeArrowheads="1"/>
              </p:cNvSpPr>
              <p:nvPr/>
            </p:nvSpPr>
            <p:spPr bwMode="auto">
              <a:xfrm>
                <a:off x="3751613" y="984439"/>
                <a:ext cx="464882" cy="1708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Sector 1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grpSp>
            <p:nvGrpSpPr>
              <p:cNvPr id="334" name="Group 333"/>
              <p:cNvGrpSpPr>
                <a:grpSpLocks/>
              </p:cNvGrpSpPr>
              <p:nvPr/>
            </p:nvGrpSpPr>
            <p:grpSpPr bwMode="auto">
              <a:xfrm>
                <a:off x="4532887" y="914372"/>
                <a:ext cx="861822" cy="306542"/>
                <a:chOff x="4532887" y="914372"/>
                <a:chExt cx="492" cy="175"/>
              </a:xfrm>
            </p:grpSpPr>
            <p:sp>
              <p:nvSpPr>
                <p:cNvPr id="343" name="Rectangle 342"/>
                <p:cNvSpPr>
                  <a:spLocks noChangeArrowheads="1"/>
                </p:cNvSpPr>
                <p:nvPr/>
              </p:nvSpPr>
              <p:spPr bwMode="auto">
                <a:xfrm>
                  <a:off x="4532887" y="914372"/>
                  <a:ext cx="492" cy="175"/>
                </a:xfrm>
                <a:prstGeom prst="rect">
                  <a:avLst/>
                </a:prstGeom>
                <a:solidFill>
                  <a:srgbClr val="548D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44" name="Rectangle 343"/>
                <p:cNvSpPr>
                  <a:spLocks noChangeArrowheads="1"/>
                </p:cNvSpPr>
                <p:nvPr/>
              </p:nvSpPr>
              <p:spPr bwMode="auto">
                <a:xfrm>
                  <a:off x="4532887" y="914372"/>
                  <a:ext cx="492" cy="175"/>
                </a:xfrm>
                <a:prstGeom prst="rect">
                  <a:avLst/>
                </a:prstGeom>
                <a:noFill/>
                <a:ln w="24" cap="rnd">
                  <a:solidFill>
                    <a:srgbClr val="EEECE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35" name="Rectangle 334"/>
              <p:cNvSpPr>
                <a:spLocks noChangeArrowheads="1"/>
              </p:cNvSpPr>
              <p:nvPr/>
            </p:nvSpPr>
            <p:spPr bwMode="auto">
              <a:xfrm>
                <a:off x="4655468" y="984439"/>
                <a:ext cx="464882" cy="1708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Sector 2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grpSp>
            <p:nvGrpSpPr>
              <p:cNvPr id="336" name="Group 335"/>
              <p:cNvGrpSpPr>
                <a:grpSpLocks/>
              </p:cNvGrpSpPr>
              <p:nvPr/>
            </p:nvGrpSpPr>
            <p:grpSpPr bwMode="auto">
              <a:xfrm>
                <a:off x="5447259" y="903862"/>
                <a:ext cx="861822" cy="318804"/>
                <a:chOff x="5447259" y="903862"/>
                <a:chExt cx="492" cy="182"/>
              </a:xfrm>
            </p:grpSpPr>
            <p:sp>
              <p:nvSpPr>
                <p:cNvPr id="341" name="Rectangle 340"/>
                <p:cNvSpPr>
                  <a:spLocks noChangeArrowheads="1"/>
                </p:cNvSpPr>
                <p:nvPr/>
              </p:nvSpPr>
              <p:spPr bwMode="auto">
                <a:xfrm>
                  <a:off x="5447259" y="903862"/>
                  <a:ext cx="492" cy="182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42" name="Rectangle 341"/>
                <p:cNvSpPr>
                  <a:spLocks noChangeArrowheads="1"/>
                </p:cNvSpPr>
                <p:nvPr/>
              </p:nvSpPr>
              <p:spPr bwMode="auto">
                <a:xfrm>
                  <a:off x="5447259" y="903862"/>
                  <a:ext cx="492" cy="182"/>
                </a:xfrm>
                <a:prstGeom prst="rect">
                  <a:avLst/>
                </a:prstGeom>
                <a:noFill/>
                <a:ln w="24" cap="rnd">
                  <a:solidFill>
                    <a:srgbClr val="EEECE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37" name="Rectangle 336"/>
              <p:cNvSpPr>
                <a:spLocks noChangeArrowheads="1"/>
              </p:cNvSpPr>
              <p:nvPr/>
            </p:nvSpPr>
            <p:spPr bwMode="auto">
              <a:xfrm>
                <a:off x="5569833" y="975681"/>
                <a:ext cx="464882" cy="1708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Sector 3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38" name="Freeform 337"/>
              <p:cNvSpPr>
                <a:spLocks noEditPoints="1"/>
              </p:cNvSpPr>
              <p:nvPr/>
            </p:nvSpPr>
            <p:spPr bwMode="auto">
              <a:xfrm>
                <a:off x="4101976" y="779494"/>
                <a:ext cx="963419" cy="164657"/>
              </a:xfrm>
              <a:custGeom>
                <a:avLst/>
                <a:gdLst>
                  <a:gd name="T0" fmla="*/ 2147483647 w 4586"/>
                  <a:gd name="T1" fmla="*/ 2147483647 h 781"/>
                  <a:gd name="T2" fmla="*/ 2147483647 w 4586"/>
                  <a:gd name="T3" fmla="*/ 2147483647 h 781"/>
                  <a:gd name="T4" fmla="*/ 2147483647 w 4586"/>
                  <a:gd name="T5" fmla="*/ 2147483647 h 781"/>
                  <a:gd name="T6" fmla="*/ 2147483647 w 4586"/>
                  <a:gd name="T7" fmla="*/ 2147483647 h 781"/>
                  <a:gd name="T8" fmla="*/ 2147483647 w 4586"/>
                  <a:gd name="T9" fmla="*/ 2147483647 h 781"/>
                  <a:gd name="T10" fmla="*/ 2147483647 w 4586"/>
                  <a:gd name="T11" fmla="*/ 2147483647 h 781"/>
                  <a:gd name="T12" fmla="*/ 2147483647 w 4586"/>
                  <a:gd name="T13" fmla="*/ 2147483647 h 781"/>
                  <a:gd name="T14" fmla="*/ 2147483647 w 4586"/>
                  <a:gd name="T15" fmla="*/ 2147483647 h 781"/>
                  <a:gd name="T16" fmla="*/ 0 w 4586"/>
                  <a:gd name="T17" fmla="*/ 2147483647 h 781"/>
                  <a:gd name="T18" fmla="*/ 2147483647 w 4586"/>
                  <a:gd name="T19" fmla="*/ 2147483647 h 781"/>
                  <a:gd name="T20" fmla="*/ 2147483647 w 4586"/>
                  <a:gd name="T21" fmla="*/ 2147483647 h 78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586" h="781">
                    <a:moveTo>
                      <a:pt x="4554" y="68"/>
                    </a:moveTo>
                    <a:lnTo>
                      <a:pt x="335" y="625"/>
                    </a:lnTo>
                    <a:cubicBezTo>
                      <a:pt x="317" y="627"/>
                      <a:pt x="300" y="614"/>
                      <a:pt x="298" y="596"/>
                    </a:cubicBezTo>
                    <a:cubicBezTo>
                      <a:pt x="295" y="578"/>
                      <a:pt x="308" y="561"/>
                      <a:pt x="326" y="559"/>
                    </a:cubicBezTo>
                    <a:lnTo>
                      <a:pt x="4546" y="2"/>
                    </a:lnTo>
                    <a:cubicBezTo>
                      <a:pt x="4564" y="0"/>
                      <a:pt x="4581" y="13"/>
                      <a:pt x="4583" y="31"/>
                    </a:cubicBezTo>
                    <a:cubicBezTo>
                      <a:pt x="4586" y="49"/>
                      <a:pt x="4573" y="66"/>
                      <a:pt x="4554" y="68"/>
                    </a:cubicBezTo>
                    <a:close/>
                    <a:moveTo>
                      <a:pt x="423" y="781"/>
                    </a:moveTo>
                    <a:lnTo>
                      <a:pt x="0" y="635"/>
                    </a:lnTo>
                    <a:lnTo>
                      <a:pt x="371" y="385"/>
                    </a:lnTo>
                    <a:lnTo>
                      <a:pt x="423" y="781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39" name="Freeform 338"/>
              <p:cNvSpPr>
                <a:spLocks noEditPoints="1"/>
              </p:cNvSpPr>
              <p:nvPr/>
            </p:nvSpPr>
            <p:spPr bwMode="auto">
              <a:xfrm>
                <a:off x="5061892" y="782997"/>
                <a:ext cx="826788" cy="131375"/>
              </a:xfrm>
              <a:custGeom>
                <a:avLst/>
                <a:gdLst>
                  <a:gd name="T0" fmla="*/ 2147483647 w 3935"/>
                  <a:gd name="T1" fmla="*/ 2147483647 h 629"/>
                  <a:gd name="T2" fmla="*/ 2147483647 w 3935"/>
                  <a:gd name="T3" fmla="*/ 2147483647 h 629"/>
                  <a:gd name="T4" fmla="*/ 2147483647 w 3935"/>
                  <a:gd name="T5" fmla="*/ 2147483647 h 629"/>
                  <a:gd name="T6" fmla="*/ 2147483647 w 3935"/>
                  <a:gd name="T7" fmla="*/ 2147483647 h 629"/>
                  <a:gd name="T8" fmla="*/ 2147483647 w 3935"/>
                  <a:gd name="T9" fmla="*/ 2147483647 h 629"/>
                  <a:gd name="T10" fmla="*/ 2147483647 w 3935"/>
                  <a:gd name="T11" fmla="*/ 2147483647 h 629"/>
                  <a:gd name="T12" fmla="*/ 2147483647 w 3935"/>
                  <a:gd name="T13" fmla="*/ 2147483647 h 629"/>
                  <a:gd name="T14" fmla="*/ 2147483647 w 3935"/>
                  <a:gd name="T15" fmla="*/ 2147483647 h 629"/>
                  <a:gd name="T16" fmla="*/ 2147483647 w 3935"/>
                  <a:gd name="T17" fmla="*/ 2147483647 h 629"/>
                  <a:gd name="T18" fmla="*/ 2147483647 w 3935"/>
                  <a:gd name="T19" fmla="*/ 2147483647 h 629"/>
                  <a:gd name="T20" fmla="*/ 2147483647 w 3935"/>
                  <a:gd name="T21" fmla="*/ 2147483647 h 6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935" h="629">
                    <a:moveTo>
                      <a:pt x="39" y="2"/>
                    </a:moveTo>
                    <a:lnTo>
                      <a:pt x="3608" y="405"/>
                    </a:lnTo>
                    <a:cubicBezTo>
                      <a:pt x="3626" y="407"/>
                      <a:pt x="3639" y="423"/>
                      <a:pt x="3637" y="442"/>
                    </a:cubicBezTo>
                    <a:cubicBezTo>
                      <a:pt x="3635" y="460"/>
                      <a:pt x="3618" y="473"/>
                      <a:pt x="3600" y="471"/>
                    </a:cubicBezTo>
                    <a:lnTo>
                      <a:pt x="31" y="68"/>
                    </a:lnTo>
                    <a:cubicBezTo>
                      <a:pt x="13" y="66"/>
                      <a:pt x="0" y="50"/>
                      <a:pt x="2" y="31"/>
                    </a:cubicBezTo>
                    <a:cubicBezTo>
                      <a:pt x="4" y="13"/>
                      <a:pt x="21" y="0"/>
                      <a:pt x="39" y="2"/>
                    </a:cubicBezTo>
                    <a:close/>
                    <a:moveTo>
                      <a:pt x="3560" y="232"/>
                    </a:moveTo>
                    <a:lnTo>
                      <a:pt x="3935" y="475"/>
                    </a:lnTo>
                    <a:lnTo>
                      <a:pt x="3515" y="629"/>
                    </a:lnTo>
                    <a:lnTo>
                      <a:pt x="3560" y="232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40" name="Freeform 339"/>
              <p:cNvSpPr>
                <a:spLocks noEditPoints="1"/>
              </p:cNvSpPr>
              <p:nvPr/>
            </p:nvSpPr>
            <p:spPr bwMode="auto">
              <a:xfrm>
                <a:off x="5025107" y="802265"/>
                <a:ext cx="84080" cy="133127"/>
              </a:xfrm>
              <a:custGeom>
                <a:avLst/>
                <a:gdLst>
                  <a:gd name="T0" fmla="*/ 2147483647 w 400"/>
                  <a:gd name="T1" fmla="*/ 2147483647 h 634"/>
                  <a:gd name="T2" fmla="*/ 2147483647 w 400"/>
                  <a:gd name="T3" fmla="*/ 2147483647 h 634"/>
                  <a:gd name="T4" fmla="*/ 2147483647 w 400"/>
                  <a:gd name="T5" fmla="*/ 2147483647 h 634"/>
                  <a:gd name="T6" fmla="*/ 2147483647 w 400"/>
                  <a:gd name="T7" fmla="*/ 2147483647 h 634"/>
                  <a:gd name="T8" fmla="*/ 2147483647 w 400"/>
                  <a:gd name="T9" fmla="*/ 2147483647 h 634"/>
                  <a:gd name="T10" fmla="*/ 2147483647 w 400"/>
                  <a:gd name="T11" fmla="*/ 2147483647 h 634"/>
                  <a:gd name="T12" fmla="*/ 2147483647 w 400"/>
                  <a:gd name="T13" fmla="*/ 2147483647 h 634"/>
                  <a:gd name="T14" fmla="*/ 2147483647 w 400"/>
                  <a:gd name="T15" fmla="*/ 2147483647 h 634"/>
                  <a:gd name="T16" fmla="*/ 2147483647 w 400"/>
                  <a:gd name="T17" fmla="*/ 2147483647 h 634"/>
                  <a:gd name="T18" fmla="*/ 0 w 400"/>
                  <a:gd name="T19" fmla="*/ 2147483647 h 634"/>
                  <a:gd name="T20" fmla="*/ 2147483647 w 400"/>
                  <a:gd name="T21" fmla="*/ 2147483647 h 6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00" h="634">
                    <a:moveTo>
                      <a:pt x="244" y="36"/>
                    </a:moveTo>
                    <a:lnTo>
                      <a:pt x="230" y="303"/>
                    </a:lnTo>
                    <a:cubicBezTo>
                      <a:pt x="229" y="322"/>
                      <a:pt x="213" y="336"/>
                      <a:pt x="194" y="335"/>
                    </a:cubicBezTo>
                    <a:cubicBezTo>
                      <a:pt x="176" y="334"/>
                      <a:pt x="162" y="318"/>
                      <a:pt x="163" y="299"/>
                    </a:cubicBezTo>
                    <a:lnTo>
                      <a:pt x="178" y="32"/>
                    </a:lnTo>
                    <a:cubicBezTo>
                      <a:pt x="179" y="14"/>
                      <a:pt x="195" y="0"/>
                      <a:pt x="213" y="1"/>
                    </a:cubicBezTo>
                    <a:cubicBezTo>
                      <a:pt x="231" y="2"/>
                      <a:pt x="245" y="18"/>
                      <a:pt x="244" y="36"/>
                    </a:cubicBezTo>
                    <a:close/>
                    <a:moveTo>
                      <a:pt x="400" y="246"/>
                    </a:moveTo>
                    <a:lnTo>
                      <a:pt x="178" y="634"/>
                    </a:lnTo>
                    <a:lnTo>
                      <a:pt x="0" y="224"/>
                    </a:lnTo>
                    <a:lnTo>
                      <a:pt x="400" y="246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47" name="Group 46"/>
            <p:cNvGrpSpPr>
              <a:grpSpLocks/>
            </p:cNvGrpSpPr>
            <p:nvPr/>
          </p:nvGrpSpPr>
          <p:grpSpPr bwMode="auto">
            <a:xfrm>
              <a:off x="4963621" y="1805188"/>
              <a:ext cx="1454150" cy="343180"/>
              <a:chOff x="4963621" y="1805398"/>
              <a:chExt cx="1453886" cy="343327"/>
            </a:xfrm>
          </p:grpSpPr>
          <p:grpSp>
            <p:nvGrpSpPr>
              <p:cNvPr id="323" name="Group 322"/>
              <p:cNvGrpSpPr>
                <a:grpSpLocks/>
              </p:cNvGrpSpPr>
              <p:nvPr/>
            </p:nvGrpSpPr>
            <p:grpSpPr bwMode="auto">
              <a:xfrm>
                <a:off x="4963621" y="1805398"/>
                <a:ext cx="1453886" cy="343327"/>
                <a:chOff x="4963621" y="1805398"/>
                <a:chExt cx="830" cy="196"/>
              </a:xfrm>
            </p:grpSpPr>
            <p:sp>
              <p:nvSpPr>
                <p:cNvPr id="326" name="Rectangle 325"/>
                <p:cNvSpPr>
                  <a:spLocks noChangeArrowheads="1"/>
                </p:cNvSpPr>
                <p:nvPr/>
              </p:nvSpPr>
              <p:spPr bwMode="auto">
                <a:xfrm>
                  <a:off x="4963621" y="1805401"/>
                  <a:ext cx="830" cy="193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27" name="Freeform 326"/>
                <p:cNvSpPr>
                  <a:spLocks noEditPoints="1"/>
                </p:cNvSpPr>
                <p:nvPr/>
              </p:nvSpPr>
              <p:spPr bwMode="auto">
                <a:xfrm>
                  <a:off x="4963621" y="1805402"/>
                  <a:ext cx="828" cy="192"/>
                </a:xfrm>
                <a:custGeom>
                  <a:avLst/>
                  <a:gdLst>
                    <a:gd name="T0" fmla="*/ 24 w 828"/>
                    <a:gd name="T1" fmla="*/ 24 h 192"/>
                    <a:gd name="T2" fmla="*/ 24 w 828"/>
                    <a:gd name="T3" fmla="*/ 168 h 192"/>
                    <a:gd name="T4" fmla="*/ 804 w 828"/>
                    <a:gd name="T5" fmla="*/ 168 h 192"/>
                    <a:gd name="T6" fmla="*/ 804 w 828"/>
                    <a:gd name="T7" fmla="*/ 24 h 192"/>
                    <a:gd name="T8" fmla="*/ 24 w 828"/>
                    <a:gd name="T9" fmla="*/ 24 h 192"/>
                    <a:gd name="T10" fmla="*/ 828 w 828"/>
                    <a:gd name="T11" fmla="*/ 0 h 192"/>
                    <a:gd name="T12" fmla="*/ 828 w 828"/>
                    <a:gd name="T13" fmla="*/ 192 h 192"/>
                    <a:gd name="T14" fmla="*/ 0 w 828"/>
                    <a:gd name="T15" fmla="*/ 192 h 192"/>
                    <a:gd name="T16" fmla="*/ 0 w 828"/>
                    <a:gd name="T17" fmla="*/ 0 h 192"/>
                    <a:gd name="T18" fmla="*/ 828 w 828"/>
                    <a:gd name="T19" fmla="*/ 0 h 192"/>
                    <a:gd name="T20" fmla="*/ 12 w 828"/>
                    <a:gd name="T21" fmla="*/ 12 h 192"/>
                    <a:gd name="T22" fmla="*/ 12 w 828"/>
                    <a:gd name="T23" fmla="*/ 180 h 192"/>
                    <a:gd name="T24" fmla="*/ 816 w 828"/>
                    <a:gd name="T25" fmla="*/ 180 h 192"/>
                    <a:gd name="T26" fmla="*/ 816 w 828"/>
                    <a:gd name="T27" fmla="*/ 12 h 192"/>
                    <a:gd name="T28" fmla="*/ 12 w 828"/>
                    <a:gd name="T29" fmla="*/ 12 h 192"/>
                    <a:gd name="T30" fmla="*/ 12 w 828"/>
                    <a:gd name="T31" fmla="*/ 12 h 192"/>
                    <a:gd name="T32" fmla="*/ 12 w 828"/>
                    <a:gd name="T33" fmla="*/ 180 h 192"/>
                    <a:gd name="T34" fmla="*/ 816 w 828"/>
                    <a:gd name="T35" fmla="*/ 180 h 192"/>
                    <a:gd name="T36" fmla="*/ 816 w 828"/>
                    <a:gd name="T37" fmla="*/ 12 h 192"/>
                    <a:gd name="T38" fmla="*/ 12 w 828"/>
                    <a:gd name="T39" fmla="*/ 12 h 19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828" h="192">
                      <a:moveTo>
                        <a:pt x="24" y="24"/>
                      </a:moveTo>
                      <a:lnTo>
                        <a:pt x="24" y="168"/>
                      </a:lnTo>
                      <a:lnTo>
                        <a:pt x="804" y="168"/>
                      </a:lnTo>
                      <a:lnTo>
                        <a:pt x="804" y="24"/>
                      </a:lnTo>
                      <a:lnTo>
                        <a:pt x="24" y="24"/>
                      </a:lnTo>
                      <a:close/>
                      <a:moveTo>
                        <a:pt x="828" y="0"/>
                      </a:moveTo>
                      <a:lnTo>
                        <a:pt x="828" y="192"/>
                      </a:lnTo>
                      <a:lnTo>
                        <a:pt x="0" y="192"/>
                      </a:lnTo>
                      <a:lnTo>
                        <a:pt x="0" y="0"/>
                      </a:lnTo>
                      <a:lnTo>
                        <a:pt x="828" y="0"/>
                      </a:lnTo>
                      <a:close/>
                      <a:moveTo>
                        <a:pt x="12" y="12"/>
                      </a:moveTo>
                      <a:lnTo>
                        <a:pt x="12" y="180"/>
                      </a:lnTo>
                      <a:lnTo>
                        <a:pt x="816" y="180"/>
                      </a:lnTo>
                      <a:lnTo>
                        <a:pt x="816" y="12"/>
                      </a:lnTo>
                      <a:lnTo>
                        <a:pt x="12" y="12"/>
                      </a:lnTo>
                      <a:close/>
                      <a:moveTo>
                        <a:pt x="12" y="12"/>
                      </a:moveTo>
                      <a:lnTo>
                        <a:pt x="12" y="180"/>
                      </a:lnTo>
                      <a:lnTo>
                        <a:pt x="816" y="180"/>
                      </a:lnTo>
                      <a:lnTo>
                        <a:pt x="816" y="12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28" name="Rectangle 327"/>
                <p:cNvSpPr>
                  <a:spLocks noChangeArrowheads="1"/>
                </p:cNvSpPr>
                <p:nvPr/>
              </p:nvSpPr>
              <p:spPr bwMode="auto">
                <a:xfrm>
                  <a:off x="4963621" y="1805401"/>
                  <a:ext cx="830" cy="193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29" name="Rectangle 328"/>
                <p:cNvSpPr>
                  <a:spLocks noChangeArrowheads="1"/>
                </p:cNvSpPr>
                <p:nvPr/>
              </p:nvSpPr>
              <p:spPr bwMode="auto">
                <a:xfrm>
                  <a:off x="4963625" y="1805398"/>
                  <a:ext cx="804" cy="16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30" name="Rectangle 329"/>
                <p:cNvSpPr>
                  <a:spLocks noChangeArrowheads="1"/>
                </p:cNvSpPr>
                <p:nvPr/>
              </p:nvSpPr>
              <p:spPr bwMode="auto">
                <a:xfrm>
                  <a:off x="4963625" y="1805398"/>
                  <a:ext cx="804" cy="168"/>
                </a:xfrm>
                <a:prstGeom prst="rect">
                  <a:avLst/>
                </a:prstGeom>
                <a:noFill/>
                <a:ln w="24" cap="rnd">
                  <a:solidFill>
                    <a:srgbClr val="F2F2F2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24" name="Rectangle 323"/>
              <p:cNvSpPr>
                <a:spLocks noChangeArrowheads="1"/>
              </p:cNvSpPr>
              <p:nvPr/>
            </p:nvSpPr>
            <p:spPr bwMode="auto">
              <a:xfrm>
                <a:off x="5093205" y="1875464"/>
                <a:ext cx="1011371" cy="170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1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Action Document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48" name="Group 47"/>
            <p:cNvGrpSpPr>
              <a:grpSpLocks/>
            </p:cNvGrpSpPr>
            <p:nvPr/>
          </p:nvGrpSpPr>
          <p:grpSpPr bwMode="auto">
            <a:xfrm>
              <a:off x="4673595" y="7938"/>
              <a:ext cx="2171224" cy="3904155"/>
              <a:chOff x="4673600" y="7938"/>
              <a:chExt cx="2170658" cy="3904473"/>
            </a:xfrm>
          </p:grpSpPr>
          <p:grpSp>
            <p:nvGrpSpPr>
              <p:cNvPr id="316" name="Group 315"/>
              <p:cNvGrpSpPr>
                <a:grpSpLocks/>
              </p:cNvGrpSpPr>
              <p:nvPr/>
            </p:nvGrpSpPr>
            <p:grpSpPr bwMode="auto">
              <a:xfrm>
                <a:off x="6465896" y="11442"/>
                <a:ext cx="378362" cy="3900969"/>
                <a:chOff x="6392013" y="11442"/>
                <a:chExt cx="216" cy="2227"/>
              </a:xfrm>
            </p:grpSpPr>
            <p:pic>
              <p:nvPicPr>
                <p:cNvPr id="321" name="Picture 320"/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92013" y="11442"/>
                  <a:ext cx="203" cy="22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22" name="Rectangle 321"/>
                <p:cNvSpPr>
                  <a:spLocks noChangeArrowheads="1"/>
                </p:cNvSpPr>
                <p:nvPr/>
              </p:nvSpPr>
              <p:spPr bwMode="auto">
                <a:xfrm>
                  <a:off x="6392049" y="11442"/>
                  <a:ext cx="180" cy="2227"/>
                </a:xfrm>
                <a:prstGeom prst="rect">
                  <a:avLst/>
                </a:prstGeom>
                <a:noFill/>
                <a:ln w="8" cap="rnd">
                  <a:solidFill>
                    <a:srgbClr val="F2F2F2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17" name="Rectangle 316"/>
              <p:cNvSpPr>
                <a:spLocks noChangeArrowheads="1"/>
              </p:cNvSpPr>
              <p:nvPr/>
            </p:nvSpPr>
            <p:spPr bwMode="auto">
              <a:xfrm rot="5400000">
                <a:off x="5749711" y="2317213"/>
                <a:ext cx="1931828" cy="1549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kern="1200" dirty="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CONSULTATION</a:t>
                </a:r>
                <a:r>
                  <a:rPr lang="en-US" sz="1200" kern="1200" dirty="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  </a:t>
                </a:r>
                <a:endParaRPr lang="en-GB" sz="1200" dirty="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18" name="Rectangle 317"/>
              <p:cNvSpPr>
                <a:spLocks noChangeArrowheads="1"/>
              </p:cNvSpPr>
              <p:nvPr/>
            </p:nvSpPr>
            <p:spPr bwMode="auto">
              <a:xfrm rot="5400000">
                <a:off x="6138050" y="2878915"/>
                <a:ext cx="287678" cy="170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(AGR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cxnSp>
            <p:nvCxnSpPr>
              <p:cNvPr id="319" name="Line 750"/>
              <p:cNvCxnSpPr/>
              <p:nvPr/>
            </p:nvCxnSpPr>
            <p:spPr bwMode="auto">
              <a:xfrm flipH="1" flipV="1">
                <a:off x="4673600" y="3894893"/>
                <a:ext cx="1758677" cy="5255"/>
              </a:xfrm>
              <a:prstGeom prst="line">
                <a:avLst/>
              </a:prstGeom>
              <a:noFill/>
              <a:ln w="6" cap="rnd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20" name="Line 751"/>
              <p:cNvCxnSpPr/>
              <p:nvPr/>
            </p:nvCxnSpPr>
            <p:spPr bwMode="auto">
              <a:xfrm flipH="1">
                <a:off x="5701831" y="7938"/>
                <a:ext cx="688406" cy="7007"/>
              </a:xfrm>
              <a:prstGeom prst="line">
                <a:avLst/>
              </a:prstGeom>
              <a:noFill/>
              <a:ln w="6" cap="rnd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1397000" y="3367088"/>
              <a:ext cx="200025" cy="904875"/>
            </a:xfrm>
            <a:custGeom>
              <a:avLst/>
              <a:gdLst>
                <a:gd name="T0" fmla="*/ 2147483647 w 950"/>
                <a:gd name="T1" fmla="*/ 2147483647 h 4310"/>
                <a:gd name="T2" fmla="*/ 2147483647 w 950"/>
                <a:gd name="T3" fmla="*/ 2147483647 h 4310"/>
                <a:gd name="T4" fmla="*/ 2147483647 w 950"/>
                <a:gd name="T5" fmla="*/ 2147483647 h 4310"/>
                <a:gd name="T6" fmla="*/ 2147483647 w 950"/>
                <a:gd name="T7" fmla="*/ 2147483647 h 4310"/>
                <a:gd name="T8" fmla="*/ 2147483647 w 950"/>
                <a:gd name="T9" fmla="*/ 2147483647 h 4310"/>
                <a:gd name="T10" fmla="*/ 2147483647 w 950"/>
                <a:gd name="T11" fmla="*/ 2147483647 h 4310"/>
                <a:gd name="T12" fmla="*/ 2147483647 w 950"/>
                <a:gd name="T13" fmla="*/ 2147483647 h 4310"/>
                <a:gd name="T14" fmla="*/ 2147483647 w 950"/>
                <a:gd name="T15" fmla="*/ 2147483647 h 4310"/>
                <a:gd name="T16" fmla="*/ 2147483647 w 950"/>
                <a:gd name="T17" fmla="*/ 2147483647 h 4310"/>
                <a:gd name="T18" fmla="*/ 2147483647 w 950"/>
                <a:gd name="T19" fmla="*/ 2147483647 h 4310"/>
                <a:gd name="T20" fmla="*/ 2147483647 w 950"/>
                <a:gd name="T21" fmla="*/ 2147483647 h 4310"/>
                <a:gd name="T22" fmla="*/ 2147483647 w 950"/>
                <a:gd name="T23" fmla="*/ 2147483647 h 4310"/>
                <a:gd name="T24" fmla="*/ 2147483647 w 950"/>
                <a:gd name="T25" fmla="*/ 2147483647 h 4310"/>
                <a:gd name="T26" fmla="*/ 2147483647 w 950"/>
                <a:gd name="T27" fmla="*/ 2147483647 h 4310"/>
                <a:gd name="T28" fmla="*/ 2147483647 w 950"/>
                <a:gd name="T29" fmla="*/ 2147483647 h 4310"/>
                <a:gd name="T30" fmla="*/ 2147483647 w 950"/>
                <a:gd name="T31" fmla="*/ 2147483647 h 4310"/>
                <a:gd name="T32" fmla="*/ 2147483647 w 950"/>
                <a:gd name="T33" fmla="*/ 2147483647 h 4310"/>
                <a:gd name="T34" fmla="*/ 2147483647 w 950"/>
                <a:gd name="T35" fmla="*/ 2147483647 h 4310"/>
                <a:gd name="T36" fmla="*/ 2147483647 w 950"/>
                <a:gd name="T37" fmla="*/ 2147483647 h 4310"/>
                <a:gd name="T38" fmla="*/ 2147483647 w 950"/>
                <a:gd name="T39" fmla="*/ 2147483647 h 4310"/>
                <a:gd name="T40" fmla="*/ 2147483647 w 950"/>
                <a:gd name="T41" fmla="*/ 2147483647 h 4310"/>
                <a:gd name="T42" fmla="*/ 2147483647 w 950"/>
                <a:gd name="T43" fmla="*/ 2147483647 h 4310"/>
                <a:gd name="T44" fmla="*/ 2147483647 w 950"/>
                <a:gd name="T45" fmla="*/ 2147483647 h 4310"/>
                <a:gd name="T46" fmla="*/ 2147483647 w 950"/>
                <a:gd name="T47" fmla="*/ 2147483647 h 4310"/>
                <a:gd name="T48" fmla="*/ 2147483647 w 950"/>
                <a:gd name="T49" fmla="*/ 2147483647 h 4310"/>
                <a:gd name="T50" fmla="*/ 2147483647 w 950"/>
                <a:gd name="T51" fmla="*/ 2147483647 h 4310"/>
                <a:gd name="T52" fmla="*/ 2147483647 w 950"/>
                <a:gd name="T53" fmla="*/ 2147483647 h 4310"/>
                <a:gd name="T54" fmla="*/ 2147483647 w 950"/>
                <a:gd name="T55" fmla="*/ 2147483647 h 4310"/>
                <a:gd name="T56" fmla="*/ 2147483647 w 950"/>
                <a:gd name="T57" fmla="*/ 2147483647 h 4310"/>
                <a:gd name="T58" fmla="*/ 2147483647 w 950"/>
                <a:gd name="T59" fmla="*/ 2147483647 h 4310"/>
                <a:gd name="T60" fmla="*/ 2147483647 w 950"/>
                <a:gd name="T61" fmla="*/ 2147483647 h 4310"/>
                <a:gd name="T62" fmla="*/ 2147483647 w 950"/>
                <a:gd name="T63" fmla="*/ 2147483647 h 4310"/>
                <a:gd name="T64" fmla="*/ 2147483647 w 950"/>
                <a:gd name="T65" fmla="*/ 2147483647 h 4310"/>
                <a:gd name="T66" fmla="*/ 2147483647 w 950"/>
                <a:gd name="T67" fmla="*/ 2147483647 h 4310"/>
                <a:gd name="T68" fmla="*/ 2147483647 w 950"/>
                <a:gd name="T69" fmla="*/ 2147483647 h 4310"/>
                <a:gd name="T70" fmla="*/ 2147483647 w 950"/>
                <a:gd name="T71" fmla="*/ 0 h 4310"/>
                <a:gd name="T72" fmla="*/ 2147483647 w 950"/>
                <a:gd name="T73" fmla="*/ 2147483647 h 43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50" h="4310">
                  <a:moveTo>
                    <a:pt x="3" y="4268"/>
                  </a:moveTo>
                  <a:lnTo>
                    <a:pt x="88" y="3809"/>
                  </a:lnTo>
                  <a:cubicBezTo>
                    <a:pt x="92" y="3791"/>
                    <a:pt x="109" y="3779"/>
                    <a:pt x="127" y="3782"/>
                  </a:cubicBezTo>
                  <a:cubicBezTo>
                    <a:pt x="145" y="3785"/>
                    <a:pt x="157" y="3803"/>
                    <a:pt x="154" y="3821"/>
                  </a:cubicBezTo>
                  <a:lnTo>
                    <a:pt x="69" y="4280"/>
                  </a:lnTo>
                  <a:cubicBezTo>
                    <a:pt x="66" y="4298"/>
                    <a:pt x="48" y="4310"/>
                    <a:pt x="30" y="4307"/>
                  </a:cubicBezTo>
                  <a:cubicBezTo>
                    <a:pt x="12" y="4303"/>
                    <a:pt x="0" y="4286"/>
                    <a:pt x="3" y="4268"/>
                  </a:cubicBezTo>
                  <a:close/>
                  <a:moveTo>
                    <a:pt x="137" y="3547"/>
                  </a:moveTo>
                  <a:lnTo>
                    <a:pt x="137" y="3547"/>
                  </a:lnTo>
                  <a:cubicBezTo>
                    <a:pt x="140" y="3529"/>
                    <a:pt x="157" y="3517"/>
                    <a:pt x="175" y="3520"/>
                  </a:cubicBezTo>
                  <a:cubicBezTo>
                    <a:pt x="193" y="3523"/>
                    <a:pt x="205" y="3540"/>
                    <a:pt x="202" y="3558"/>
                  </a:cubicBezTo>
                  <a:cubicBezTo>
                    <a:pt x="199" y="3577"/>
                    <a:pt x="182" y="3589"/>
                    <a:pt x="164" y="3586"/>
                  </a:cubicBezTo>
                  <a:cubicBezTo>
                    <a:pt x="146" y="3582"/>
                    <a:pt x="133" y="3565"/>
                    <a:pt x="137" y="3547"/>
                  </a:cubicBezTo>
                  <a:close/>
                  <a:moveTo>
                    <a:pt x="185" y="3285"/>
                  </a:moveTo>
                  <a:lnTo>
                    <a:pt x="185" y="3285"/>
                  </a:lnTo>
                  <a:cubicBezTo>
                    <a:pt x="188" y="3266"/>
                    <a:pt x="206" y="3254"/>
                    <a:pt x="224" y="3258"/>
                  </a:cubicBezTo>
                  <a:cubicBezTo>
                    <a:pt x="242" y="3261"/>
                    <a:pt x="254" y="3278"/>
                    <a:pt x="251" y="3296"/>
                  </a:cubicBezTo>
                  <a:cubicBezTo>
                    <a:pt x="248" y="3314"/>
                    <a:pt x="230" y="3326"/>
                    <a:pt x="212" y="3323"/>
                  </a:cubicBezTo>
                  <a:cubicBezTo>
                    <a:pt x="194" y="3320"/>
                    <a:pt x="182" y="3303"/>
                    <a:pt x="185" y="3285"/>
                  </a:cubicBezTo>
                  <a:close/>
                  <a:moveTo>
                    <a:pt x="234" y="3022"/>
                  </a:moveTo>
                  <a:lnTo>
                    <a:pt x="318" y="2563"/>
                  </a:lnTo>
                  <a:cubicBezTo>
                    <a:pt x="322" y="2545"/>
                    <a:pt x="339" y="2533"/>
                    <a:pt x="357" y="2536"/>
                  </a:cubicBezTo>
                  <a:cubicBezTo>
                    <a:pt x="375" y="2540"/>
                    <a:pt x="387" y="2557"/>
                    <a:pt x="384" y="2575"/>
                  </a:cubicBezTo>
                  <a:lnTo>
                    <a:pt x="299" y="3034"/>
                  </a:lnTo>
                  <a:cubicBezTo>
                    <a:pt x="296" y="3052"/>
                    <a:pt x="278" y="3064"/>
                    <a:pt x="260" y="3061"/>
                  </a:cubicBezTo>
                  <a:cubicBezTo>
                    <a:pt x="242" y="3058"/>
                    <a:pt x="230" y="3040"/>
                    <a:pt x="234" y="3022"/>
                  </a:cubicBezTo>
                  <a:close/>
                  <a:moveTo>
                    <a:pt x="367" y="2301"/>
                  </a:moveTo>
                  <a:lnTo>
                    <a:pt x="367" y="2301"/>
                  </a:lnTo>
                  <a:cubicBezTo>
                    <a:pt x="370" y="2283"/>
                    <a:pt x="387" y="2271"/>
                    <a:pt x="406" y="2274"/>
                  </a:cubicBezTo>
                  <a:cubicBezTo>
                    <a:pt x="424" y="2277"/>
                    <a:pt x="436" y="2295"/>
                    <a:pt x="433" y="2313"/>
                  </a:cubicBezTo>
                  <a:cubicBezTo>
                    <a:pt x="429" y="2331"/>
                    <a:pt x="412" y="2343"/>
                    <a:pt x="394" y="2340"/>
                  </a:cubicBezTo>
                  <a:cubicBezTo>
                    <a:pt x="376" y="2337"/>
                    <a:pt x="364" y="2319"/>
                    <a:pt x="367" y="2301"/>
                  </a:cubicBezTo>
                  <a:close/>
                  <a:moveTo>
                    <a:pt x="415" y="2039"/>
                  </a:moveTo>
                  <a:lnTo>
                    <a:pt x="415" y="2039"/>
                  </a:lnTo>
                  <a:cubicBezTo>
                    <a:pt x="419" y="2021"/>
                    <a:pt x="436" y="2009"/>
                    <a:pt x="454" y="2012"/>
                  </a:cubicBezTo>
                  <a:cubicBezTo>
                    <a:pt x="472" y="2015"/>
                    <a:pt x="484" y="2032"/>
                    <a:pt x="481" y="2050"/>
                  </a:cubicBezTo>
                  <a:cubicBezTo>
                    <a:pt x="478" y="2069"/>
                    <a:pt x="461" y="2081"/>
                    <a:pt x="442" y="2078"/>
                  </a:cubicBezTo>
                  <a:cubicBezTo>
                    <a:pt x="424" y="2074"/>
                    <a:pt x="412" y="2057"/>
                    <a:pt x="415" y="2039"/>
                  </a:cubicBezTo>
                  <a:close/>
                  <a:moveTo>
                    <a:pt x="464" y="1776"/>
                  </a:moveTo>
                  <a:lnTo>
                    <a:pt x="549" y="1317"/>
                  </a:lnTo>
                  <a:cubicBezTo>
                    <a:pt x="552" y="1299"/>
                    <a:pt x="569" y="1287"/>
                    <a:pt x="588" y="1291"/>
                  </a:cubicBezTo>
                  <a:cubicBezTo>
                    <a:pt x="606" y="1294"/>
                    <a:pt x="618" y="1311"/>
                    <a:pt x="614" y="1330"/>
                  </a:cubicBezTo>
                  <a:lnTo>
                    <a:pt x="529" y="1788"/>
                  </a:lnTo>
                  <a:cubicBezTo>
                    <a:pt x="526" y="1807"/>
                    <a:pt x="509" y="1819"/>
                    <a:pt x="491" y="1815"/>
                  </a:cubicBezTo>
                  <a:cubicBezTo>
                    <a:pt x="473" y="1812"/>
                    <a:pt x="461" y="1794"/>
                    <a:pt x="464" y="1776"/>
                  </a:cubicBezTo>
                  <a:close/>
                  <a:moveTo>
                    <a:pt x="597" y="1056"/>
                  </a:moveTo>
                  <a:lnTo>
                    <a:pt x="597" y="1055"/>
                  </a:lnTo>
                  <a:cubicBezTo>
                    <a:pt x="600" y="1037"/>
                    <a:pt x="618" y="1025"/>
                    <a:pt x="636" y="1028"/>
                  </a:cubicBezTo>
                  <a:cubicBezTo>
                    <a:pt x="654" y="1032"/>
                    <a:pt x="666" y="1049"/>
                    <a:pt x="663" y="1067"/>
                  </a:cubicBezTo>
                  <a:cubicBezTo>
                    <a:pt x="660" y="1085"/>
                    <a:pt x="642" y="1097"/>
                    <a:pt x="624" y="1094"/>
                  </a:cubicBezTo>
                  <a:cubicBezTo>
                    <a:pt x="606" y="1091"/>
                    <a:pt x="594" y="1074"/>
                    <a:pt x="597" y="1056"/>
                  </a:cubicBezTo>
                  <a:close/>
                  <a:moveTo>
                    <a:pt x="646" y="793"/>
                  </a:moveTo>
                  <a:lnTo>
                    <a:pt x="646" y="793"/>
                  </a:lnTo>
                  <a:cubicBezTo>
                    <a:pt x="649" y="775"/>
                    <a:pt x="666" y="763"/>
                    <a:pt x="684" y="766"/>
                  </a:cubicBezTo>
                  <a:cubicBezTo>
                    <a:pt x="702" y="769"/>
                    <a:pt x="715" y="787"/>
                    <a:pt x="711" y="805"/>
                  </a:cubicBezTo>
                  <a:cubicBezTo>
                    <a:pt x="708" y="823"/>
                    <a:pt x="691" y="835"/>
                    <a:pt x="673" y="832"/>
                  </a:cubicBezTo>
                  <a:cubicBezTo>
                    <a:pt x="655" y="829"/>
                    <a:pt x="642" y="811"/>
                    <a:pt x="646" y="793"/>
                  </a:cubicBezTo>
                  <a:close/>
                  <a:moveTo>
                    <a:pt x="694" y="531"/>
                  </a:moveTo>
                  <a:lnTo>
                    <a:pt x="733" y="322"/>
                  </a:lnTo>
                  <a:cubicBezTo>
                    <a:pt x="736" y="304"/>
                    <a:pt x="753" y="292"/>
                    <a:pt x="772" y="295"/>
                  </a:cubicBezTo>
                  <a:cubicBezTo>
                    <a:pt x="790" y="299"/>
                    <a:pt x="802" y="316"/>
                    <a:pt x="798" y="334"/>
                  </a:cubicBezTo>
                  <a:lnTo>
                    <a:pt x="760" y="543"/>
                  </a:lnTo>
                  <a:cubicBezTo>
                    <a:pt x="756" y="561"/>
                    <a:pt x="739" y="573"/>
                    <a:pt x="721" y="569"/>
                  </a:cubicBezTo>
                  <a:cubicBezTo>
                    <a:pt x="703" y="566"/>
                    <a:pt x="691" y="549"/>
                    <a:pt x="694" y="531"/>
                  </a:cubicBezTo>
                  <a:close/>
                  <a:moveTo>
                    <a:pt x="557" y="357"/>
                  </a:moveTo>
                  <a:lnTo>
                    <a:pt x="826" y="0"/>
                  </a:lnTo>
                  <a:lnTo>
                    <a:pt x="950" y="430"/>
                  </a:lnTo>
                  <a:lnTo>
                    <a:pt x="557" y="357"/>
                  </a:lnTo>
                  <a:close/>
                </a:path>
              </a:pathLst>
            </a:custGeom>
            <a:solidFill>
              <a:srgbClr val="000000"/>
            </a:solidFill>
            <a:ln w="1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50" name="Group 49"/>
            <p:cNvGrpSpPr>
              <a:grpSpLocks/>
            </p:cNvGrpSpPr>
            <p:nvPr/>
          </p:nvGrpSpPr>
          <p:grpSpPr bwMode="auto">
            <a:xfrm>
              <a:off x="517525" y="1344614"/>
              <a:ext cx="2232024" cy="2195512"/>
              <a:chOff x="517525" y="1344613"/>
              <a:chExt cx="2231628" cy="2196594"/>
            </a:xfrm>
          </p:grpSpPr>
          <p:sp>
            <p:nvSpPr>
              <p:cNvPr id="313" name="Freeform 312"/>
              <p:cNvSpPr>
                <a:spLocks noEditPoints="1"/>
              </p:cNvSpPr>
              <p:nvPr/>
            </p:nvSpPr>
            <p:spPr bwMode="auto">
              <a:xfrm>
                <a:off x="517525" y="2777479"/>
                <a:ext cx="1390826" cy="763728"/>
              </a:xfrm>
              <a:custGeom>
                <a:avLst/>
                <a:gdLst>
                  <a:gd name="T0" fmla="*/ 2147483647 w 6613"/>
                  <a:gd name="T1" fmla="*/ 0 h 3637"/>
                  <a:gd name="T2" fmla="*/ 2147483647 w 6613"/>
                  <a:gd name="T3" fmla="*/ 0 h 3637"/>
                  <a:gd name="T4" fmla="*/ 2147483647 w 6613"/>
                  <a:gd name="T5" fmla="*/ 2147483647 h 3637"/>
                  <a:gd name="T6" fmla="*/ 2147483647 w 6613"/>
                  <a:gd name="T7" fmla="*/ 2147483647 h 3637"/>
                  <a:gd name="T8" fmla="*/ 2147483647 w 6613"/>
                  <a:gd name="T9" fmla="*/ 2147483647 h 3637"/>
                  <a:gd name="T10" fmla="*/ 2147483647 w 6613"/>
                  <a:gd name="T11" fmla="*/ 2147483647 h 3637"/>
                  <a:gd name="T12" fmla="*/ 2147483647 w 6613"/>
                  <a:gd name="T13" fmla="*/ 2147483647 h 3637"/>
                  <a:gd name="T14" fmla="*/ 2147483647 w 6613"/>
                  <a:gd name="T15" fmla="*/ 2147483647 h 3637"/>
                  <a:gd name="T16" fmla="*/ 2147483647 w 6613"/>
                  <a:gd name="T17" fmla="*/ 2147483647 h 3637"/>
                  <a:gd name="T18" fmla="*/ 2147483647 w 6613"/>
                  <a:gd name="T19" fmla="*/ 2147483647 h 3637"/>
                  <a:gd name="T20" fmla="*/ 2147483647 w 6613"/>
                  <a:gd name="T21" fmla="*/ 2147483647 h 3637"/>
                  <a:gd name="T22" fmla="*/ 2147483647 w 6613"/>
                  <a:gd name="T23" fmla="*/ 2147483647 h 3637"/>
                  <a:gd name="T24" fmla="*/ 2147483647 w 6613"/>
                  <a:gd name="T25" fmla="*/ 2147483647 h 3637"/>
                  <a:gd name="T26" fmla="*/ 0 w 6613"/>
                  <a:gd name="T27" fmla="*/ 2147483647 h 3637"/>
                  <a:gd name="T28" fmla="*/ 2147483647 w 6613"/>
                  <a:gd name="T29" fmla="*/ 0 h 3637"/>
                  <a:gd name="T30" fmla="*/ 2147483647 w 6613"/>
                  <a:gd name="T31" fmla="*/ 2147483647 h 3637"/>
                  <a:gd name="T32" fmla="*/ 2147483647 w 6613"/>
                  <a:gd name="T33" fmla="*/ 2147483647 h 3637"/>
                  <a:gd name="T34" fmla="*/ 2147483647 w 6613"/>
                  <a:gd name="T35" fmla="*/ 2147483647 h 3637"/>
                  <a:gd name="T36" fmla="*/ 2147483647 w 6613"/>
                  <a:gd name="T37" fmla="*/ 2147483647 h 3637"/>
                  <a:gd name="T38" fmla="*/ 2147483647 w 6613"/>
                  <a:gd name="T39" fmla="*/ 2147483647 h 363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6613" h="3637">
                    <a:moveTo>
                      <a:pt x="33" y="0"/>
                    </a:moveTo>
                    <a:lnTo>
                      <a:pt x="124" y="0"/>
                    </a:lnTo>
                    <a:cubicBezTo>
                      <a:pt x="142" y="0"/>
                      <a:pt x="157" y="15"/>
                      <a:pt x="157" y="34"/>
                    </a:cubicBezTo>
                    <a:lnTo>
                      <a:pt x="157" y="3437"/>
                    </a:lnTo>
                    <a:lnTo>
                      <a:pt x="124" y="3404"/>
                    </a:lnTo>
                    <a:lnTo>
                      <a:pt x="6413" y="3404"/>
                    </a:lnTo>
                    <a:cubicBezTo>
                      <a:pt x="6432" y="3404"/>
                      <a:pt x="6447" y="3419"/>
                      <a:pt x="6447" y="3437"/>
                    </a:cubicBezTo>
                    <a:cubicBezTo>
                      <a:pt x="6447" y="3456"/>
                      <a:pt x="6432" y="3470"/>
                      <a:pt x="6413" y="3470"/>
                    </a:cubicBezTo>
                    <a:lnTo>
                      <a:pt x="124" y="3470"/>
                    </a:lnTo>
                    <a:cubicBezTo>
                      <a:pt x="105" y="3470"/>
                      <a:pt x="90" y="3456"/>
                      <a:pt x="90" y="3437"/>
                    </a:cubicBezTo>
                    <a:lnTo>
                      <a:pt x="90" y="34"/>
                    </a:lnTo>
                    <a:lnTo>
                      <a:pt x="124" y="67"/>
                    </a:lnTo>
                    <a:lnTo>
                      <a:pt x="33" y="67"/>
                    </a:lnTo>
                    <a:cubicBezTo>
                      <a:pt x="15" y="67"/>
                      <a:pt x="0" y="52"/>
                      <a:pt x="0" y="34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  <a:moveTo>
                      <a:pt x="6413" y="3237"/>
                    </a:moveTo>
                    <a:lnTo>
                      <a:pt x="6613" y="3437"/>
                    </a:lnTo>
                    <a:lnTo>
                      <a:pt x="6413" y="3637"/>
                    </a:lnTo>
                    <a:lnTo>
                      <a:pt x="6213" y="3437"/>
                    </a:lnTo>
                    <a:lnTo>
                      <a:pt x="6413" y="3237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4" name="Freeform 313"/>
              <p:cNvSpPr>
                <a:spLocks noEditPoints="1"/>
              </p:cNvSpPr>
              <p:nvPr/>
            </p:nvSpPr>
            <p:spPr bwMode="auto">
              <a:xfrm>
                <a:off x="974711" y="1717719"/>
                <a:ext cx="1131579" cy="499226"/>
              </a:xfrm>
              <a:custGeom>
                <a:avLst/>
                <a:gdLst>
                  <a:gd name="T0" fmla="*/ 2147483647 w 10774"/>
                  <a:gd name="T1" fmla="*/ 2147483647 h 4760"/>
                  <a:gd name="T2" fmla="*/ 2147483647 w 10774"/>
                  <a:gd name="T3" fmla="*/ 2147483647 h 4760"/>
                  <a:gd name="T4" fmla="*/ 2147483647 w 10774"/>
                  <a:gd name="T5" fmla="*/ 2147483647 h 4760"/>
                  <a:gd name="T6" fmla="*/ 2147483647 w 10774"/>
                  <a:gd name="T7" fmla="*/ 2147483647 h 4760"/>
                  <a:gd name="T8" fmla="*/ 2147483647 w 10774"/>
                  <a:gd name="T9" fmla="*/ 2147483647 h 4760"/>
                  <a:gd name="T10" fmla="*/ 2147483647 w 10774"/>
                  <a:gd name="T11" fmla="*/ 2147483647 h 4760"/>
                  <a:gd name="T12" fmla="*/ 2147483647 w 10774"/>
                  <a:gd name="T13" fmla="*/ 2147483647 h 4760"/>
                  <a:gd name="T14" fmla="*/ 2147483647 w 10774"/>
                  <a:gd name="T15" fmla="*/ 2147483647 h 4760"/>
                  <a:gd name="T16" fmla="*/ 2147483647 w 10774"/>
                  <a:gd name="T17" fmla="*/ 2147483647 h 4760"/>
                  <a:gd name="T18" fmla="*/ 2147483647 w 10774"/>
                  <a:gd name="T19" fmla="*/ 2147483647 h 4760"/>
                  <a:gd name="T20" fmla="*/ 2147483647 w 10774"/>
                  <a:gd name="T21" fmla="*/ 2147483647 h 4760"/>
                  <a:gd name="T22" fmla="*/ 2147483647 w 10774"/>
                  <a:gd name="T23" fmla="*/ 2147483647 h 4760"/>
                  <a:gd name="T24" fmla="*/ 2147483647 w 10774"/>
                  <a:gd name="T25" fmla="*/ 2147483647 h 4760"/>
                  <a:gd name="T26" fmla="*/ 0 w 10774"/>
                  <a:gd name="T27" fmla="*/ 2147483647 h 4760"/>
                  <a:gd name="T28" fmla="*/ 2147483647 w 10774"/>
                  <a:gd name="T29" fmla="*/ 2147483647 h 4760"/>
                  <a:gd name="T30" fmla="*/ 2147483647 w 10774"/>
                  <a:gd name="T31" fmla="*/ 0 h 4760"/>
                  <a:gd name="T32" fmla="*/ 2147483647 w 10774"/>
                  <a:gd name="T33" fmla="*/ 2147483647 h 4760"/>
                  <a:gd name="T34" fmla="*/ 2147483647 w 10774"/>
                  <a:gd name="T35" fmla="*/ 2147483647 h 4760"/>
                  <a:gd name="T36" fmla="*/ 2147483647 w 10774"/>
                  <a:gd name="T37" fmla="*/ 2147483647 h 4760"/>
                  <a:gd name="T38" fmla="*/ 2147483647 w 10774"/>
                  <a:gd name="T39" fmla="*/ 0 h 476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774" h="4760">
                    <a:moveTo>
                      <a:pt x="67" y="4627"/>
                    </a:moveTo>
                    <a:lnTo>
                      <a:pt x="3674" y="4627"/>
                    </a:lnTo>
                    <a:lnTo>
                      <a:pt x="3607" y="4694"/>
                    </a:lnTo>
                    <a:lnTo>
                      <a:pt x="3607" y="400"/>
                    </a:lnTo>
                    <a:cubicBezTo>
                      <a:pt x="3607" y="364"/>
                      <a:pt x="3637" y="334"/>
                      <a:pt x="3674" y="334"/>
                    </a:cubicBezTo>
                    <a:lnTo>
                      <a:pt x="10374" y="334"/>
                    </a:lnTo>
                    <a:cubicBezTo>
                      <a:pt x="10411" y="334"/>
                      <a:pt x="10440" y="364"/>
                      <a:pt x="10440" y="400"/>
                    </a:cubicBezTo>
                    <a:cubicBezTo>
                      <a:pt x="10440" y="437"/>
                      <a:pt x="10411" y="467"/>
                      <a:pt x="10374" y="467"/>
                    </a:cubicBezTo>
                    <a:lnTo>
                      <a:pt x="3674" y="467"/>
                    </a:lnTo>
                    <a:lnTo>
                      <a:pt x="3740" y="400"/>
                    </a:lnTo>
                    <a:lnTo>
                      <a:pt x="3740" y="4694"/>
                    </a:lnTo>
                    <a:cubicBezTo>
                      <a:pt x="3740" y="4731"/>
                      <a:pt x="3710" y="4760"/>
                      <a:pt x="3674" y="4760"/>
                    </a:cubicBezTo>
                    <a:lnTo>
                      <a:pt x="67" y="4760"/>
                    </a:lnTo>
                    <a:cubicBezTo>
                      <a:pt x="30" y="4760"/>
                      <a:pt x="0" y="4731"/>
                      <a:pt x="0" y="4694"/>
                    </a:cubicBezTo>
                    <a:cubicBezTo>
                      <a:pt x="0" y="4657"/>
                      <a:pt x="30" y="4627"/>
                      <a:pt x="67" y="4627"/>
                    </a:cubicBezTo>
                    <a:close/>
                    <a:moveTo>
                      <a:pt x="10374" y="0"/>
                    </a:moveTo>
                    <a:lnTo>
                      <a:pt x="10774" y="400"/>
                    </a:lnTo>
                    <a:lnTo>
                      <a:pt x="10374" y="800"/>
                    </a:lnTo>
                    <a:lnTo>
                      <a:pt x="9974" y="400"/>
                    </a:lnTo>
                    <a:lnTo>
                      <a:pt x="10374" y="0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5" name="Freeform 314"/>
              <p:cNvSpPr>
                <a:spLocks noEditPoints="1"/>
              </p:cNvSpPr>
              <p:nvPr/>
            </p:nvSpPr>
            <p:spPr bwMode="auto">
              <a:xfrm>
                <a:off x="953691" y="1344613"/>
                <a:ext cx="1795462" cy="874083"/>
              </a:xfrm>
              <a:custGeom>
                <a:avLst/>
                <a:gdLst>
                  <a:gd name="T0" fmla="*/ 2147483647 w 17073"/>
                  <a:gd name="T1" fmla="*/ 2147483647 h 8307"/>
                  <a:gd name="T2" fmla="*/ 2147483647 w 17073"/>
                  <a:gd name="T3" fmla="*/ 2147483647 h 8307"/>
                  <a:gd name="T4" fmla="*/ 2147483647 w 17073"/>
                  <a:gd name="T5" fmla="*/ 2147483647 h 8307"/>
                  <a:gd name="T6" fmla="*/ 2147483647 w 17073"/>
                  <a:gd name="T7" fmla="*/ 2147483647 h 8307"/>
                  <a:gd name="T8" fmla="*/ 2147483647 w 17073"/>
                  <a:gd name="T9" fmla="*/ 2147483647 h 8307"/>
                  <a:gd name="T10" fmla="*/ 2147483647 w 17073"/>
                  <a:gd name="T11" fmla="*/ 2147483647 h 8307"/>
                  <a:gd name="T12" fmla="*/ 2147483647 w 17073"/>
                  <a:gd name="T13" fmla="*/ 2147483647 h 8307"/>
                  <a:gd name="T14" fmla="*/ 2147483647 w 17073"/>
                  <a:gd name="T15" fmla="*/ 2147483647 h 8307"/>
                  <a:gd name="T16" fmla="*/ 2147483647 w 17073"/>
                  <a:gd name="T17" fmla="*/ 2147483647 h 8307"/>
                  <a:gd name="T18" fmla="*/ 2147483647 w 17073"/>
                  <a:gd name="T19" fmla="*/ 2147483647 h 8307"/>
                  <a:gd name="T20" fmla="*/ 2147483647 w 17073"/>
                  <a:gd name="T21" fmla="*/ 2147483647 h 8307"/>
                  <a:gd name="T22" fmla="*/ 2147483647 w 17073"/>
                  <a:gd name="T23" fmla="*/ 2147483647 h 8307"/>
                  <a:gd name="T24" fmla="*/ 2147483647 w 17073"/>
                  <a:gd name="T25" fmla="*/ 2147483647 h 8307"/>
                  <a:gd name="T26" fmla="*/ 0 w 17073"/>
                  <a:gd name="T27" fmla="*/ 2147483647 h 8307"/>
                  <a:gd name="T28" fmla="*/ 2147483647 w 17073"/>
                  <a:gd name="T29" fmla="*/ 2147483647 h 8307"/>
                  <a:gd name="T30" fmla="*/ 2147483647 w 17073"/>
                  <a:gd name="T31" fmla="*/ 0 h 8307"/>
                  <a:gd name="T32" fmla="*/ 2147483647 w 17073"/>
                  <a:gd name="T33" fmla="*/ 2147483647 h 8307"/>
                  <a:gd name="T34" fmla="*/ 2147483647 w 17073"/>
                  <a:gd name="T35" fmla="*/ 2147483647 h 8307"/>
                  <a:gd name="T36" fmla="*/ 2147483647 w 17073"/>
                  <a:gd name="T37" fmla="*/ 2147483647 h 8307"/>
                  <a:gd name="T38" fmla="*/ 2147483647 w 17073"/>
                  <a:gd name="T39" fmla="*/ 0 h 830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7073" h="8307">
                    <a:moveTo>
                      <a:pt x="67" y="8174"/>
                    </a:moveTo>
                    <a:lnTo>
                      <a:pt x="1513" y="8174"/>
                    </a:lnTo>
                    <a:lnTo>
                      <a:pt x="1446" y="8240"/>
                    </a:lnTo>
                    <a:lnTo>
                      <a:pt x="1446" y="400"/>
                    </a:lnTo>
                    <a:cubicBezTo>
                      <a:pt x="1446" y="364"/>
                      <a:pt x="1476" y="334"/>
                      <a:pt x="1513" y="334"/>
                    </a:cubicBezTo>
                    <a:lnTo>
                      <a:pt x="16673" y="334"/>
                    </a:lnTo>
                    <a:cubicBezTo>
                      <a:pt x="16710" y="334"/>
                      <a:pt x="16740" y="364"/>
                      <a:pt x="16740" y="400"/>
                    </a:cubicBezTo>
                    <a:cubicBezTo>
                      <a:pt x="16740" y="437"/>
                      <a:pt x="16710" y="467"/>
                      <a:pt x="16673" y="467"/>
                    </a:cubicBezTo>
                    <a:lnTo>
                      <a:pt x="1513" y="467"/>
                    </a:lnTo>
                    <a:lnTo>
                      <a:pt x="1580" y="400"/>
                    </a:lnTo>
                    <a:lnTo>
                      <a:pt x="1580" y="8240"/>
                    </a:lnTo>
                    <a:cubicBezTo>
                      <a:pt x="1580" y="8277"/>
                      <a:pt x="1550" y="8307"/>
                      <a:pt x="1513" y="8307"/>
                    </a:cubicBezTo>
                    <a:lnTo>
                      <a:pt x="67" y="8307"/>
                    </a:lnTo>
                    <a:cubicBezTo>
                      <a:pt x="30" y="8307"/>
                      <a:pt x="0" y="8277"/>
                      <a:pt x="0" y="8240"/>
                    </a:cubicBezTo>
                    <a:cubicBezTo>
                      <a:pt x="0" y="8204"/>
                      <a:pt x="30" y="8174"/>
                      <a:pt x="67" y="8174"/>
                    </a:cubicBezTo>
                    <a:close/>
                    <a:moveTo>
                      <a:pt x="16673" y="0"/>
                    </a:moveTo>
                    <a:lnTo>
                      <a:pt x="17073" y="400"/>
                    </a:lnTo>
                    <a:lnTo>
                      <a:pt x="16673" y="800"/>
                    </a:lnTo>
                    <a:lnTo>
                      <a:pt x="16273" y="400"/>
                    </a:lnTo>
                    <a:lnTo>
                      <a:pt x="16673" y="0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51" name="Group 50"/>
            <p:cNvGrpSpPr>
              <a:grpSpLocks/>
            </p:cNvGrpSpPr>
            <p:nvPr/>
          </p:nvGrpSpPr>
          <p:grpSpPr bwMode="auto">
            <a:xfrm>
              <a:off x="0" y="4829175"/>
              <a:ext cx="1614488" cy="466725"/>
              <a:chOff x="0" y="4829175"/>
              <a:chExt cx="1613288" cy="465944"/>
            </a:xfrm>
          </p:grpSpPr>
          <p:grpSp>
            <p:nvGrpSpPr>
              <p:cNvPr id="302" name="Group 301"/>
              <p:cNvGrpSpPr>
                <a:grpSpLocks/>
              </p:cNvGrpSpPr>
              <p:nvPr/>
            </p:nvGrpSpPr>
            <p:grpSpPr bwMode="auto">
              <a:xfrm>
                <a:off x="0" y="4829175"/>
                <a:ext cx="1613288" cy="465944"/>
                <a:chOff x="0" y="4829175"/>
                <a:chExt cx="921" cy="266"/>
              </a:xfrm>
            </p:grpSpPr>
            <p:sp>
              <p:nvSpPr>
                <p:cNvPr id="311" name="Rectangle 310"/>
                <p:cNvSpPr>
                  <a:spLocks noChangeArrowheads="1"/>
                </p:cNvSpPr>
                <p:nvPr/>
              </p:nvSpPr>
              <p:spPr bwMode="auto">
                <a:xfrm>
                  <a:off x="0" y="4829175"/>
                  <a:ext cx="921" cy="266"/>
                </a:xfrm>
                <a:prstGeom prst="rect">
                  <a:avLst/>
                </a:prstGeom>
                <a:solidFill>
                  <a:srgbClr val="EEEC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12" name="Rectangle 311"/>
                <p:cNvSpPr>
                  <a:spLocks noChangeArrowheads="1"/>
                </p:cNvSpPr>
                <p:nvPr/>
              </p:nvSpPr>
              <p:spPr bwMode="auto">
                <a:xfrm>
                  <a:off x="0" y="4829175"/>
                  <a:ext cx="921" cy="266"/>
                </a:xfrm>
                <a:prstGeom prst="rect">
                  <a:avLst/>
                </a:prstGeom>
                <a:noFill/>
                <a:ln w="6" cap="rnd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303" name="Rectangle 302"/>
              <p:cNvSpPr>
                <a:spLocks noChangeArrowheads="1"/>
              </p:cNvSpPr>
              <p:nvPr/>
            </p:nvSpPr>
            <p:spPr bwMode="auto">
              <a:xfrm>
                <a:off x="106851" y="4881725"/>
                <a:ext cx="50128" cy="1236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E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04" name="Rectangle 303"/>
              <p:cNvSpPr>
                <a:spLocks noChangeArrowheads="1"/>
              </p:cNvSpPr>
              <p:nvPr/>
            </p:nvSpPr>
            <p:spPr bwMode="auto">
              <a:xfrm>
                <a:off x="162904" y="4881725"/>
                <a:ext cx="384524" cy="1236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valuation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05" name="Rectangle 304"/>
              <p:cNvSpPr>
                <a:spLocks noChangeArrowheads="1"/>
              </p:cNvSpPr>
              <p:nvPr/>
            </p:nvSpPr>
            <p:spPr bwMode="auto">
              <a:xfrm>
                <a:off x="609576" y="4881725"/>
                <a:ext cx="155459" cy="1236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and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06" name="Rectangle 305"/>
              <p:cNvSpPr>
                <a:spLocks noChangeArrowheads="1"/>
              </p:cNvSpPr>
              <p:nvPr/>
            </p:nvSpPr>
            <p:spPr bwMode="auto">
              <a:xfrm>
                <a:off x="807514" y="4881725"/>
                <a:ext cx="209394" cy="1236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ROM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07" name="Rectangle 306"/>
              <p:cNvSpPr>
                <a:spLocks noChangeArrowheads="1"/>
              </p:cNvSpPr>
              <p:nvPr/>
            </p:nvSpPr>
            <p:spPr bwMode="auto">
              <a:xfrm>
                <a:off x="1063256" y="4881725"/>
                <a:ext cx="354067" cy="1236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missions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08" name="Rectangle 307"/>
              <p:cNvSpPr>
                <a:spLocks noChangeArrowheads="1"/>
              </p:cNvSpPr>
              <p:nvPr/>
            </p:nvSpPr>
            <p:spPr bwMode="auto">
              <a:xfrm>
                <a:off x="1455627" y="4881725"/>
                <a:ext cx="23478" cy="1749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09" name="Rectangle 308"/>
              <p:cNvSpPr>
                <a:spLocks noChangeArrowheads="1"/>
              </p:cNvSpPr>
              <p:nvPr/>
            </p:nvSpPr>
            <p:spPr bwMode="auto">
              <a:xfrm>
                <a:off x="106851" y="5039376"/>
                <a:ext cx="1236695" cy="1236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planned and </a:t>
                </a:r>
                <a:r>
                  <a:rPr lang="en-US" sz="800" u="sng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under conditions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310" name="Rectangle 309"/>
              <p:cNvSpPr>
                <a:spLocks noChangeArrowheads="1"/>
              </p:cNvSpPr>
              <p:nvPr/>
            </p:nvSpPr>
            <p:spPr bwMode="auto">
              <a:xfrm>
                <a:off x="1473143" y="5039376"/>
                <a:ext cx="23478" cy="1749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800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 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52" name="Group 51"/>
            <p:cNvGrpSpPr>
              <a:grpSpLocks/>
            </p:cNvGrpSpPr>
            <p:nvPr/>
          </p:nvGrpSpPr>
          <p:grpSpPr bwMode="auto">
            <a:xfrm>
              <a:off x="1246437" y="2051329"/>
              <a:ext cx="1185324" cy="2403186"/>
              <a:chOff x="1246438" y="2051334"/>
              <a:chExt cx="1185881" cy="2403292"/>
            </a:xfrm>
          </p:grpSpPr>
          <p:sp>
            <p:nvSpPr>
              <p:cNvPr id="292" name="Freeform 291"/>
              <p:cNvSpPr>
                <a:spLocks noEditPoints="1"/>
              </p:cNvSpPr>
              <p:nvPr/>
            </p:nvSpPr>
            <p:spPr bwMode="auto">
              <a:xfrm>
                <a:off x="1384820" y="3592804"/>
                <a:ext cx="669138" cy="204945"/>
              </a:xfrm>
              <a:custGeom>
                <a:avLst/>
                <a:gdLst>
                  <a:gd name="T0" fmla="*/ 2147483647 w 3190"/>
                  <a:gd name="T1" fmla="*/ 2147483647 h 980"/>
                  <a:gd name="T2" fmla="*/ 2147483647 w 3190"/>
                  <a:gd name="T3" fmla="*/ 0 h 980"/>
                  <a:gd name="T4" fmla="*/ 2147483647 w 3190"/>
                  <a:gd name="T5" fmla="*/ 2147483647 h 980"/>
                  <a:gd name="T6" fmla="*/ 2147483647 w 3190"/>
                  <a:gd name="T7" fmla="*/ 0 h 980"/>
                  <a:gd name="T8" fmla="*/ 2147483647 w 3190"/>
                  <a:gd name="T9" fmla="*/ 2147483647 h 980"/>
                  <a:gd name="T10" fmla="*/ 2147483647 w 3190"/>
                  <a:gd name="T11" fmla="*/ 2147483647 h 980"/>
                  <a:gd name="T12" fmla="*/ 2147483647 w 3190"/>
                  <a:gd name="T13" fmla="*/ 0 h 980"/>
                  <a:gd name="T14" fmla="*/ 2147483647 w 3190"/>
                  <a:gd name="T15" fmla="*/ 2147483647 h 980"/>
                  <a:gd name="T16" fmla="*/ 2147483647 w 3190"/>
                  <a:gd name="T17" fmla="*/ 0 h 980"/>
                  <a:gd name="T18" fmla="*/ 2147483647 w 3190"/>
                  <a:gd name="T19" fmla="*/ 2147483647 h 980"/>
                  <a:gd name="T20" fmla="*/ 2147483647 w 3190"/>
                  <a:gd name="T21" fmla="*/ 0 h 980"/>
                  <a:gd name="T22" fmla="*/ 2147483647 w 3190"/>
                  <a:gd name="T23" fmla="*/ 2147483647 h 980"/>
                  <a:gd name="T24" fmla="*/ 2147483647 w 3190"/>
                  <a:gd name="T25" fmla="*/ 2147483647 h 980"/>
                  <a:gd name="T26" fmla="*/ 2147483647 w 3190"/>
                  <a:gd name="T27" fmla="*/ 0 h 980"/>
                  <a:gd name="T28" fmla="*/ 2147483647 w 3190"/>
                  <a:gd name="T29" fmla="*/ 2147483647 h 980"/>
                  <a:gd name="T30" fmla="*/ 2147483647 w 3190"/>
                  <a:gd name="T31" fmla="*/ 0 h 980"/>
                  <a:gd name="T32" fmla="*/ 2147483647 w 3190"/>
                  <a:gd name="T33" fmla="*/ 2147483647 h 980"/>
                  <a:gd name="T34" fmla="*/ 2147483647 w 3190"/>
                  <a:gd name="T35" fmla="*/ 0 h 980"/>
                  <a:gd name="T36" fmla="*/ 2147483647 w 3190"/>
                  <a:gd name="T37" fmla="*/ 2147483647 h 980"/>
                  <a:gd name="T38" fmla="*/ 2147483647 w 3190"/>
                  <a:gd name="T39" fmla="*/ 2147483647 h 980"/>
                  <a:gd name="T40" fmla="*/ 2147483647 w 3190"/>
                  <a:gd name="T41" fmla="*/ 0 h 980"/>
                  <a:gd name="T42" fmla="*/ 2147483647 w 3190"/>
                  <a:gd name="T43" fmla="*/ 2147483647 h 980"/>
                  <a:gd name="T44" fmla="*/ 2147483647 w 3190"/>
                  <a:gd name="T45" fmla="*/ 2147483647 h 980"/>
                  <a:gd name="T46" fmla="*/ 2147483647 w 3190"/>
                  <a:gd name="T47" fmla="*/ 2147483647 h 980"/>
                  <a:gd name="T48" fmla="*/ 2147483647 w 3190"/>
                  <a:gd name="T49" fmla="*/ 2147483647 h 980"/>
                  <a:gd name="T50" fmla="*/ 2147483647 w 3190"/>
                  <a:gd name="T51" fmla="*/ 2147483647 h 980"/>
                  <a:gd name="T52" fmla="*/ 2147483647 w 3190"/>
                  <a:gd name="T53" fmla="*/ 2147483647 h 980"/>
                  <a:gd name="T54" fmla="*/ 2147483647 w 3190"/>
                  <a:gd name="T55" fmla="*/ 2147483647 h 980"/>
                  <a:gd name="T56" fmla="*/ 2147483647 w 3190"/>
                  <a:gd name="T57" fmla="*/ 2147483647 h 980"/>
                  <a:gd name="T58" fmla="*/ 2147483647 w 3190"/>
                  <a:gd name="T59" fmla="*/ 2147483647 h 980"/>
                  <a:gd name="T60" fmla="*/ 2147483647 w 3190"/>
                  <a:gd name="T61" fmla="*/ 2147483647 h 980"/>
                  <a:gd name="T62" fmla="*/ 2147483647 w 3190"/>
                  <a:gd name="T63" fmla="*/ 2147483647 h 980"/>
                  <a:gd name="T64" fmla="*/ 2147483647 w 3190"/>
                  <a:gd name="T65" fmla="*/ 2147483647 h 980"/>
                  <a:gd name="T66" fmla="*/ 2147483647 w 3190"/>
                  <a:gd name="T67" fmla="*/ 2147483647 h 980"/>
                  <a:gd name="T68" fmla="*/ 2147483647 w 3190"/>
                  <a:gd name="T69" fmla="*/ 2147483647 h 980"/>
                  <a:gd name="T70" fmla="*/ 2147483647 w 3190"/>
                  <a:gd name="T71" fmla="*/ 2147483647 h 980"/>
                  <a:gd name="T72" fmla="*/ 2147483647 w 3190"/>
                  <a:gd name="T73" fmla="*/ 2147483647 h 980"/>
                  <a:gd name="T74" fmla="*/ 2147483647 w 3190"/>
                  <a:gd name="T75" fmla="*/ 2147483647 h 980"/>
                  <a:gd name="T76" fmla="*/ 2147483647 w 3190"/>
                  <a:gd name="T77" fmla="*/ 2147483647 h 980"/>
                  <a:gd name="T78" fmla="*/ 2147483647 w 3190"/>
                  <a:gd name="T79" fmla="*/ 2147483647 h 980"/>
                  <a:gd name="T80" fmla="*/ 2147483647 w 3190"/>
                  <a:gd name="T81" fmla="*/ 2147483647 h 980"/>
                  <a:gd name="T82" fmla="*/ 2147483647 w 3190"/>
                  <a:gd name="T83" fmla="*/ 2147483647 h 980"/>
                  <a:gd name="T84" fmla="*/ 2147483647 w 3190"/>
                  <a:gd name="T85" fmla="*/ 2147483647 h 980"/>
                  <a:gd name="T86" fmla="*/ 2147483647 w 3190"/>
                  <a:gd name="T87" fmla="*/ 2147483647 h 980"/>
                  <a:gd name="T88" fmla="*/ 2147483647 w 3190"/>
                  <a:gd name="T89" fmla="*/ 2147483647 h 980"/>
                  <a:gd name="T90" fmla="*/ 2147483647 w 3190"/>
                  <a:gd name="T91" fmla="*/ 2147483647 h 980"/>
                  <a:gd name="T92" fmla="*/ 2147483647 w 3190"/>
                  <a:gd name="T93" fmla="*/ 2147483647 h 980"/>
                  <a:gd name="T94" fmla="*/ 2147483647 w 3190"/>
                  <a:gd name="T95" fmla="*/ 2147483647 h 98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90" h="980">
                    <a:moveTo>
                      <a:pt x="33" y="0"/>
                    </a:moveTo>
                    <a:lnTo>
                      <a:pt x="34" y="0"/>
                    </a:lnTo>
                    <a:cubicBezTo>
                      <a:pt x="52" y="0"/>
                      <a:pt x="67" y="15"/>
                      <a:pt x="67" y="33"/>
                    </a:cubicBezTo>
                    <a:cubicBezTo>
                      <a:pt x="67" y="52"/>
                      <a:pt x="52" y="66"/>
                      <a:pt x="34" y="66"/>
                    </a:cubicBezTo>
                    <a:lnTo>
                      <a:pt x="33" y="66"/>
                    </a:lnTo>
                    <a:cubicBezTo>
                      <a:pt x="15" y="66"/>
                      <a:pt x="0" y="52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  <a:moveTo>
                      <a:pt x="167" y="0"/>
                    </a:moveTo>
                    <a:lnTo>
                      <a:pt x="167" y="0"/>
                    </a:lnTo>
                    <a:cubicBezTo>
                      <a:pt x="185" y="0"/>
                      <a:pt x="200" y="15"/>
                      <a:pt x="200" y="33"/>
                    </a:cubicBezTo>
                    <a:cubicBezTo>
                      <a:pt x="200" y="52"/>
                      <a:pt x="185" y="66"/>
                      <a:pt x="167" y="66"/>
                    </a:cubicBezTo>
                    <a:cubicBezTo>
                      <a:pt x="148" y="66"/>
                      <a:pt x="134" y="52"/>
                      <a:pt x="134" y="33"/>
                    </a:cubicBezTo>
                    <a:cubicBezTo>
                      <a:pt x="134" y="15"/>
                      <a:pt x="148" y="0"/>
                      <a:pt x="167" y="0"/>
                    </a:cubicBezTo>
                    <a:close/>
                    <a:moveTo>
                      <a:pt x="300" y="0"/>
                    </a:moveTo>
                    <a:lnTo>
                      <a:pt x="300" y="0"/>
                    </a:lnTo>
                    <a:cubicBezTo>
                      <a:pt x="319" y="0"/>
                      <a:pt x="334" y="15"/>
                      <a:pt x="334" y="33"/>
                    </a:cubicBezTo>
                    <a:cubicBezTo>
                      <a:pt x="334" y="52"/>
                      <a:pt x="319" y="66"/>
                      <a:pt x="300" y="66"/>
                    </a:cubicBezTo>
                    <a:cubicBezTo>
                      <a:pt x="282" y="66"/>
                      <a:pt x="267" y="52"/>
                      <a:pt x="267" y="33"/>
                    </a:cubicBezTo>
                    <a:cubicBezTo>
                      <a:pt x="267" y="15"/>
                      <a:pt x="282" y="0"/>
                      <a:pt x="300" y="0"/>
                    </a:cubicBezTo>
                    <a:close/>
                    <a:moveTo>
                      <a:pt x="434" y="0"/>
                    </a:moveTo>
                    <a:lnTo>
                      <a:pt x="434" y="0"/>
                    </a:lnTo>
                    <a:cubicBezTo>
                      <a:pt x="452" y="0"/>
                      <a:pt x="467" y="15"/>
                      <a:pt x="467" y="33"/>
                    </a:cubicBezTo>
                    <a:cubicBezTo>
                      <a:pt x="467" y="52"/>
                      <a:pt x="452" y="66"/>
                      <a:pt x="434" y="66"/>
                    </a:cubicBezTo>
                    <a:cubicBezTo>
                      <a:pt x="415" y="66"/>
                      <a:pt x="400" y="52"/>
                      <a:pt x="400" y="33"/>
                    </a:cubicBezTo>
                    <a:cubicBezTo>
                      <a:pt x="400" y="15"/>
                      <a:pt x="415" y="0"/>
                      <a:pt x="434" y="0"/>
                    </a:cubicBezTo>
                    <a:close/>
                    <a:moveTo>
                      <a:pt x="567" y="0"/>
                    </a:moveTo>
                    <a:lnTo>
                      <a:pt x="567" y="0"/>
                    </a:lnTo>
                    <a:cubicBezTo>
                      <a:pt x="586" y="0"/>
                      <a:pt x="600" y="15"/>
                      <a:pt x="600" y="33"/>
                    </a:cubicBezTo>
                    <a:cubicBezTo>
                      <a:pt x="600" y="52"/>
                      <a:pt x="586" y="66"/>
                      <a:pt x="567" y="66"/>
                    </a:cubicBezTo>
                    <a:cubicBezTo>
                      <a:pt x="549" y="66"/>
                      <a:pt x="534" y="52"/>
                      <a:pt x="534" y="33"/>
                    </a:cubicBezTo>
                    <a:cubicBezTo>
                      <a:pt x="534" y="15"/>
                      <a:pt x="549" y="0"/>
                      <a:pt x="567" y="0"/>
                    </a:cubicBezTo>
                    <a:close/>
                    <a:moveTo>
                      <a:pt x="700" y="0"/>
                    </a:moveTo>
                    <a:lnTo>
                      <a:pt x="701" y="0"/>
                    </a:lnTo>
                    <a:cubicBezTo>
                      <a:pt x="719" y="0"/>
                      <a:pt x="734" y="15"/>
                      <a:pt x="734" y="33"/>
                    </a:cubicBezTo>
                    <a:cubicBezTo>
                      <a:pt x="734" y="52"/>
                      <a:pt x="719" y="66"/>
                      <a:pt x="701" y="66"/>
                    </a:cubicBezTo>
                    <a:lnTo>
                      <a:pt x="700" y="66"/>
                    </a:lnTo>
                    <a:cubicBezTo>
                      <a:pt x="682" y="66"/>
                      <a:pt x="667" y="52"/>
                      <a:pt x="667" y="33"/>
                    </a:cubicBezTo>
                    <a:cubicBezTo>
                      <a:pt x="667" y="15"/>
                      <a:pt x="682" y="0"/>
                      <a:pt x="700" y="0"/>
                    </a:cubicBezTo>
                    <a:close/>
                    <a:moveTo>
                      <a:pt x="834" y="0"/>
                    </a:moveTo>
                    <a:lnTo>
                      <a:pt x="834" y="0"/>
                    </a:lnTo>
                    <a:cubicBezTo>
                      <a:pt x="852" y="0"/>
                      <a:pt x="867" y="15"/>
                      <a:pt x="867" y="33"/>
                    </a:cubicBezTo>
                    <a:cubicBezTo>
                      <a:pt x="867" y="52"/>
                      <a:pt x="852" y="66"/>
                      <a:pt x="834" y="66"/>
                    </a:cubicBezTo>
                    <a:cubicBezTo>
                      <a:pt x="815" y="66"/>
                      <a:pt x="801" y="52"/>
                      <a:pt x="801" y="33"/>
                    </a:cubicBezTo>
                    <a:cubicBezTo>
                      <a:pt x="801" y="15"/>
                      <a:pt x="815" y="0"/>
                      <a:pt x="834" y="0"/>
                    </a:cubicBezTo>
                    <a:close/>
                    <a:moveTo>
                      <a:pt x="967" y="0"/>
                    </a:moveTo>
                    <a:lnTo>
                      <a:pt x="967" y="0"/>
                    </a:lnTo>
                    <a:cubicBezTo>
                      <a:pt x="986" y="0"/>
                      <a:pt x="1001" y="15"/>
                      <a:pt x="1001" y="33"/>
                    </a:cubicBezTo>
                    <a:cubicBezTo>
                      <a:pt x="1001" y="52"/>
                      <a:pt x="986" y="66"/>
                      <a:pt x="967" y="66"/>
                    </a:cubicBezTo>
                    <a:cubicBezTo>
                      <a:pt x="949" y="66"/>
                      <a:pt x="934" y="52"/>
                      <a:pt x="934" y="33"/>
                    </a:cubicBezTo>
                    <a:cubicBezTo>
                      <a:pt x="934" y="15"/>
                      <a:pt x="949" y="0"/>
                      <a:pt x="967" y="0"/>
                    </a:cubicBezTo>
                    <a:close/>
                    <a:moveTo>
                      <a:pt x="1101" y="0"/>
                    </a:moveTo>
                    <a:lnTo>
                      <a:pt x="1101" y="0"/>
                    </a:lnTo>
                    <a:cubicBezTo>
                      <a:pt x="1119" y="0"/>
                      <a:pt x="1134" y="15"/>
                      <a:pt x="1134" y="33"/>
                    </a:cubicBezTo>
                    <a:cubicBezTo>
                      <a:pt x="1134" y="52"/>
                      <a:pt x="1119" y="66"/>
                      <a:pt x="1101" y="66"/>
                    </a:cubicBezTo>
                    <a:cubicBezTo>
                      <a:pt x="1082" y="66"/>
                      <a:pt x="1067" y="52"/>
                      <a:pt x="1067" y="33"/>
                    </a:cubicBezTo>
                    <a:cubicBezTo>
                      <a:pt x="1067" y="15"/>
                      <a:pt x="1082" y="0"/>
                      <a:pt x="1101" y="0"/>
                    </a:cubicBezTo>
                    <a:close/>
                    <a:moveTo>
                      <a:pt x="1234" y="0"/>
                    </a:moveTo>
                    <a:lnTo>
                      <a:pt x="1234" y="0"/>
                    </a:lnTo>
                    <a:cubicBezTo>
                      <a:pt x="1253" y="0"/>
                      <a:pt x="1267" y="15"/>
                      <a:pt x="1267" y="33"/>
                    </a:cubicBezTo>
                    <a:cubicBezTo>
                      <a:pt x="1267" y="52"/>
                      <a:pt x="1253" y="66"/>
                      <a:pt x="1234" y="66"/>
                    </a:cubicBezTo>
                    <a:cubicBezTo>
                      <a:pt x="1216" y="66"/>
                      <a:pt x="1201" y="52"/>
                      <a:pt x="1201" y="33"/>
                    </a:cubicBezTo>
                    <a:cubicBezTo>
                      <a:pt x="1201" y="15"/>
                      <a:pt x="1216" y="0"/>
                      <a:pt x="1234" y="0"/>
                    </a:cubicBezTo>
                    <a:close/>
                    <a:moveTo>
                      <a:pt x="1367" y="0"/>
                    </a:moveTo>
                    <a:lnTo>
                      <a:pt x="1368" y="0"/>
                    </a:lnTo>
                    <a:cubicBezTo>
                      <a:pt x="1386" y="0"/>
                      <a:pt x="1401" y="15"/>
                      <a:pt x="1401" y="33"/>
                    </a:cubicBezTo>
                    <a:cubicBezTo>
                      <a:pt x="1401" y="52"/>
                      <a:pt x="1386" y="66"/>
                      <a:pt x="1368" y="66"/>
                    </a:cubicBezTo>
                    <a:lnTo>
                      <a:pt x="1367" y="66"/>
                    </a:lnTo>
                    <a:cubicBezTo>
                      <a:pt x="1349" y="66"/>
                      <a:pt x="1334" y="52"/>
                      <a:pt x="1334" y="33"/>
                    </a:cubicBezTo>
                    <a:cubicBezTo>
                      <a:pt x="1334" y="15"/>
                      <a:pt x="1349" y="0"/>
                      <a:pt x="1367" y="0"/>
                    </a:cubicBezTo>
                    <a:close/>
                    <a:moveTo>
                      <a:pt x="1501" y="0"/>
                    </a:moveTo>
                    <a:lnTo>
                      <a:pt x="1501" y="0"/>
                    </a:lnTo>
                    <a:cubicBezTo>
                      <a:pt x="1519" y="0"/>
                      <a:pt x="1534" y="15"/>
                      <a:pt x="1534" y="33"/>
                    </a:cubicBezTo>
                    <a:cubicBezTo>
                      <a:pt x="1534" y="52"/>
                      <a:pt x="1519" y="66"/>
                      <a:pt x="1501" y="66"/>
                    </a:cubicBezTo>
                    <a:cubicBezTo>
                      <a:pt x="1482" y="66"/>
                      <a:pt x="1468" y="52"/>
                      <a:pt x="1468" y="33"/>
                    </a:cubicBezTo>
                    <a:cubicBezTo>
                      <a:pt x="1468" y="15"/>
                      <a:pt x="1482" y="0"/>
                      <a:pt x="1501" y="0"/>
                    </a:cubicBezTo>
                    <a:close/>
                    <a:moveTo>
                      <a:pt x="1644" y="57"/>
                    </a:moveTo>
                    <a:lnTo>
                      <a:pt x="1644" y="57"/>
                    </a:lnTo>
                    <a:cubicBezTo>
                      <a:pt x="1644" y="76"/>
                      <a:pt x="1629" y="91"/>
                      <a:pt x="1610" y="91"/>
                    </a:cubicBezTo>
                    <a:cubicBezTo>
                      <a:pt x="1592" y="91"/>
                      <a:pt x="1577" y="76"/>
                      <a:pt x="1577" y="57"/>
                    </a:cubicBezTo>
                    <a:cubicBezTo>
                      <a:pt x="1577" y="39"/>
                      <a:pt x="1592" y="24"/>
                      <a:pt x="1610" y="24"/>
                    </a:cubicBezTo>
                    <a:cubicBezTo>
                      <a:pt x="1629" y="24"/>
                      <a:pt x="1644" y="39"/>
                      <a:pt x="1644" y="57"/>
                    </a:cubicBezTo>
                    <a:close/>
                    <a:moveTo>
                      <a:pt x="1644" y="191"/>
                    </a:moveTo>
                    <a:lnTo>
                      <a:pt x="1644" y="191"/>
                    </a:lnTo>
                    <a:cubicBezTo>
                      <a:pt x="1644" y="209"/>
                      <a:pt x="1629" y="224"/>
                      <a:pt x="1610" y="224"/>
                    </a:cubicBezTo>
                    <a:cubicBezTo>
                      <a:pt x="1592" y="224"/>
                      <a:pt x="1577" y="209"/>
                      <a:pt x="1577" y="191"/>
                    </a:cubicBezTo>
                    <a:cubicBezTo>
                      <a:pt x="1577" y="172"/>
                      <a:pt x="1592" y="157"/>
                      <a:pt x="1610" y="157"/>
                    </a:cubicBezTo>
                    <a:cubicBezTo>
                      <a:pt x="1629" y="157"/>
                      <a:pt x="1644" y="172"/>
                      <a:pt x="1644" y="191"/>
                    </a:cubicBezTo>
                    <a:close/>
                    <a:moveTo>
                      <a:pt x="1644" y="324"/>
                    </a:moveTo>
                    <a:lnTo>
                      <a:pt x="1644" y="324"/>
                    </a:lnTo>
                    <a:cubicBezTo>
                      <a:pt x="1644" y="342"/>
                      <a:pt x="1629" y="357"/>
                      <a:pt x="1610" y="357"/>
                    </a:cubicBezTo>
                    <a:cubicBezTo>
                      <a:pt x="1592" y="357"/>
                      <a:pt x="1577" y="342"/>
                      <a:pt x="1577" y="324"/>
                    </a:cubicBezTo>
                    <a:cubicBezTo>
                      <a:pt x="1577" y="306"/>
                      <a:pt x="1592" y="291"/>
                      <a:pt x="1610" y="291"/>
                    </a:cubicBezTo>
                    <a:cubicBezTo>
                      <a:pt x="1629" y="291"/>
                      <a:pt x="1644" y="306"/>
                      <a:pt x="1644" y="324"/>
                    </a:cubicBezTo>
                    <a:close/>
                    <a:moveTo>
                      <a:pt x="1644" y="457"/>
                    </a:moveTo>
                    <a:lnTo>
                      <a:pt x="1644" y="457"/>
                    </a:lnTo>
                    <a:cubicBezTo>
                      <a:pt x="1644" y="476"/>
                      <a:pt x="1629" y="491"/>
                      <a:pt x="1610" y="491"/>
                    </a:cubicBezTo>
                    <a:cubicBezTo>
                      <a:pt x="1592" y="491"/>
                      <a:pt x="1577" y="476"/>
                      <a:pt x="1577" y="457"/>
                    </a:cubicBezTo>
                    <a:cubicBezTo>
                      <a:pt x="1577" y="439"/>
                      <a:pt x="1592" y="424"/>
                      <a:pt x="1610" y="424"/>
                    </a:cubicBezTo>
                    <a:cubicBezTo>
                      <a:pt x="1629" y="424"/>
                      <a:pt x="1644" y="439"/>
                      <a:pt x="1644" y="457"/>
                    </a:cubicBezTo>
                    <a:close/>
                    <a:moveTo>
                      <a:pt x="1644" y="591"/>
                    </a:moveTo>
                    <a:lnTo>
                      <a:pt x="1644" y="591"/>
                    </a:lnTo>
                    <a:cubicBezTo>
                      <a:pt x="1644" y="609"/>
                      <a:pt x="1629" y="624"/>
                      <a:pt x="1610" y="624"/>
                    </a:cubicBezTo>
                    <a:cubicBezTo>
                      <a:pt x="1592" y="624"/>
                      <a:pt x="1577" y="609"/>
                      <a:pt x="1577" y="591"/>
                    </a:cubicBezTo>
                    <a:cubicBezTo>
                      <a:pt x="1577" y="572"/>
                      <a:pt x="1592" y="557"/>
                      <a:pt x="1610" y="557"/>
                    </a:cubicBezTo>
                    <a:cubicBezTo>
                      <a:pt x="1629" y="557"/>
                      <a:pt x="1644" y="572"/>
                      <a:pt x="1644" y="591"/>
                    </a:cubicBezTo>
                    <a:close/>
                    <a:moveTo>
                      <a:pt x="1644" y="724"/>
                    </a:moveTo>
                    <a:lnTo>
                      <a:pt x="1644" y="724"/>
                    </a:lnTo>
                    <a:cubicBezTo>
                      <a:pt x="1644" y="743"/>
                      <a:pt x="1629" y="758"/>
                      <a:pt x="1610" y="758"/>
                    </a:cubicBezTo>
                    <a:cubicBezTo>
                      <a:pt x="1592" y="758"/>
                      <a:pt x="1577" y="743"/>
                      <a:pt x="1577" y="724"/>
                    </a:cubicBezTo>
                    <a:cubicBezTo>
                      <a:pt x="1577" y="706"/>
                      <a:pt x="1592" y="691"/>
                      <a:pt x="1610" y="691"/>
                    </a:cubicBezTo>
                    <a:cubicBezTo>
                      <a:pt x="1629" y="691"/>
                      <a:pt x="1644" y="706"/>
                      <a:pt x="1644" y="724"/>
                    </a:cubicBezTo>
                    <a:close/>
                    <a:moveTo>
                      <a:pt x="1688" y="746"/>
                    </a:moveTo>
                    <a:lnTo>
                      <a:pt x="1688" y="746"/>
                    </a:lnTo>
                    <a:cubicBezTo>
                      <a:pt x="1706" y="746"/>
                      <a:pt x="1721" y="761"/>
                      <a:pt x="1721" y="780"/>
                    </a:cubicBezTo>
                    <a:cubicBezTo>
                      <a:pt x="1721" y="798"/>
                      <a:pt x="1706" y="813"/>
                      <a:pt x="1688" y="813"/>
                    </a:cubicBezTo>
                    <a:cubicBezTo>
                      <a:pt x="1670" y="813"/>
                      <a:pt x="1655" y="798"/>
                      <a:pt x="1655" y="780"/>
                    </a:cubicBezTo>
                    <a:cubicBezTo>
                      <a:pt x="1655" y="761"/>
                      <a:pt x="1670" y="746"/>
                      <a:pt x="1688" y="746"/>
                    </a:cubicBezTo>
                    <a:close/>
                    <a:moveTo>
                      <a:pt x="1821" y="746"/>
                    </a:moveTo>
                    <a:lnTo>
                      <a:pt x="1821" y="746"/>
                    </a:lnTo>
                    <a:cubicBezTo>
                      <a:pt x="1840" y="746"/>
                      <a:pt x="1855" y="761"/>
                      <a:pt x="1855" y="780"/>
                    </a:cubicBezTo>
                    <a:cubicBezTo>
                      <a:pt x="1855" y="798"/>
                      <a:pt x="1840" y="813"/>
                      <a:pt x="1821" y="813"/>
                    </a:cubicBezTo>
                    <a:cubicBezTo>
                      <a:pt x="1803" y="813"/>
                      <a:pt x="1788" y="798"/>
                      <a:pt x="1788" y="780"/>
                    </a:cubicBezTo>
                    <a:cubicBezTo>
                      <a:pt x="1788" y="761"/>
                      <a:pt x="1803" y="746"/>
                      <a:pt x="1821" y="746"/>
                    </a:cubicBezTo>
                    <a:close/>
                    <a:moveTo>
                      <a:pt x="1955" y="746"/>
                    </a:moveTo>
                    <a:lnTo>
                      <a:pt x="1955" y="746"/>
                    </a:lnTo>
                    <a:cubicBezTo>
                      <a:pt x="1973" y="746"/>
                      <a:pt x="1988" y="761"/>
                      <a:pt x="1988" y="780"/>
                    </a:cubicBezTo>
                    <a:cubicBezTo>
                      <a:pt x="1988" y="798"/>
                      <a:pt x="1973" y="813"/>
                      <a:pt x="1955" y="813"/>
                    </a:cubicBezTo>
                    <a:cubicBezTo>
                      <a:pt x="1936" y="813"/>
                      <a:pt x="1921" y="798"/>
                      <a:pt x="1921" y="780"/>
                    </a:cubicBezTo>
                    <a:cubicBezTo>
                      <a:pt x="1921" y="761"/>
                      <a:pt x="1936" y="746"/>
                      <a:pt x="1955" y="746"/>
                    </a:cubicBezTo>
                    <a:close/>
                    <a:moveTo>
                      <a:pt x="2088" y="746"/>
                    </a:moveTo>
                    <a:lnTo>
                      <a:pt x="2088" y="746"/>
                    </a:lnTo>
                    <a:cubicBezTo>
                      <a:pt x="2107" y="746"/>
                      <a:pt x="2122" y="761"/>
                      <a:pt x="2122" y="780"/>
                    </a:cubicBezTo>
                    <a:cubicBezTo>
                      <a:pt x="2122" y="798"/>
                      <a:pt x="2107" y="813"/>
                      <a:pt x="2088" y="813"/>
                    </a:cubicBezTo>
                    <a:cubicBezTo>
                      <a:pt x="2070" y="813"/>
                      <a:pt x="2055" y="798"/>
                      <a:pt x="2055" y="780"/>
                    </a:cubicBezTo>
                    <a:cubicBezTo>
                      <a:pt x="2055" y="761"/>
                      <a:pt x="2070" y="746"/>
                      <a:pt x="2088" y="746"/>
                    </a:cubicBezTo>
                    <a:close/>
                    <a:moveTo>
                      <a:pt x="2222" y="746"/>
                    </a:moveTo>
                    <a:lnTo>
                      <a:pt x="2222" y="746"/>
                    </a:lnTo>
                    <a:cubicBezTo>
                      <a:pt x="2240" y="746"/>
                      <a:pt x="2255" y="761"/>
                      <a:pt x="2255" y="780"/>
                    </a:cubicBezTo>
                    <a:cubicBezTo>
                      <a:pt x="2255" y="798"/>
                      <a:pt x="2240" y="813"/>
                      <a:pt x="2222" y="813"/>
                    </a:cubicBezTo>
                    <a:cubicBezTo>
                      <a:pt x="2203" y="813"/>
                      <a:pt x="2188" y="798"/>
                      <a:pt x="2188" y="780"/>
                    </a:cubicBezTo>
                    <a:cubicBezTo>
                      <a:pt x="2188" y="761"/>
                      <a:pt x="2203" y="746"/>
                      <a:pt x="2222" y="746"/>
                    </a:cubicBezTo>
                    <a:close/>
                    <a:moveTo>
                      <a:pt x="2355" y="746"/>
                    </a:moveTo>
                    <a:lnTo>
                      <a:pt x="2355" y="746"/>
                    </a:lnTo>
                    <a:cubicBezTo>
                      <a:pt x="2373" y="746"/>
                      <a:pt x="2388" y="761"/>
                      <a:pt x="2388" y="780"/>
                    </a:cubicBezTo>
                    <a:cubicBezTo>
                      <a:pt x="2388" y="798"/>
                      <a:pt x="2373" y="813"/>
                      <a:pt x="2355" y="813"/>
                    </a:cubicBezTo>
                    <a:cubicBezTo>
                      <a:pt x="2337" y="813"/>
                      <a:pt x="2322" y="798"/>
                      <a:pt x="2322" y="780"/>
                    </a:cubicBezTo>
                    <a:cubicBezTo>
                      <a:pt x="2322" y="761"/>
                      <a:pt x="2337" y="746"/>
                      <a:pt x="2355" y="746"/>
                    </a:cubicBezTo>
                    <a:close/>
                    <a:moveTo>
                      <a:pt x="2488" y="746"/>
                    </a:moveTo>
                    <a:lnTo>
                      <a:pt x="2488" y="746"/>
                    </a:lnTo>
                    <a:cubicBezTo>
                      <a:pt x="2507" y="746"/>
                      <a:pt x="2522" y="761"/>
                      <a:pt x="2522" y="780"/>
                    </a:cubicBezTo>
                    <a:cubicBezTo>
                      <a:pt x="2522" y="798"/>
                      <a:pt x="2507" y="813"/>
                      <a:pt x="2488" y="813"/>
                    </a:cubicBezTo>
                    <a:cubicBezTo>
                      <a:pt x="2470" y="813"/>
                      <a:pt x="2455" y="798"/>
                      <a:pt x="2455" y="780"/>
                    </a:cubicBezTo>
                    <a:cubicBezTo>
                      <a:pt x="2455" y="761"/>
                      <a:pt x="2470" y="746"/>
                      <a:pt x="2488" y="746"/>
                    </a:cubicBezTo>
                    <a:close/>
                    <a:moveTo>
                      <a:pt x="2622" y="746"/>
                    </a:moveTo>
                    <a:lnTo>
                      <a:pt x="2622" y="746"/>
                    </a:lnTo>
                    <a:cubicBezTo>
                      <a:pt x="2640" y="746"/>
                      <a:pt x="2655" y="761"/>
                      <a:pt x="2655" y="780"/>
                    </a:cubicBezTo>
                    <a:cubicBezTo>
                      <a:pt x="2655" y="798"/>
                      <a:pt x="2640" y="813"/>
                      <a:pt x="2622" y="813"/>
                    </a:cubicBezTo>
                    <a:cubicBezTo>
                      <a:pt x="2603" y="813"/>
                      <a:pt x="2588" y="798"/>
                      <a:pt x="2588" y="780"/>
                    </a:cubicBezTo>
                    <a:cubicBezTo>
                      <a:pt x="2588" y="761"/>
                      <a:pt x="2603" y="746"/>
                      <a:pt x="2622" y="746"/>
                    </a:cubicBezTo>
                    <a:close/>
                    <a:moveTo>
                      <a:pt x="2755" y="746"/>
                    </a:moveTo>
                    <a:lnTo>
                      <a:pt x="2755" y="746"/>
                    </a:lnTo>
                    <a:cubicBezTo>
                      <a:pt x="2774" y="746"/>
                      <a:pt x="2789" y="761"/>
                      <a:pt x="2789" y="780"/>
                    </a:cubicBezTo>
                    <a:cubicBezTo>
                      <a:pt x="2789" y="798"/>
                      <a:pt x="2774" y="813"/>
                      <a:pt x="2755" y="813"/>
                    </a:cubicBezTo>
                    <a:cubicBezTo>
                      <a:pt x="2737" y="813"/>
                      <a:pt x="2722" y="798"/>
                      <a:pt x="2722" y="780"/>
                    </a:cubicBezTo>
                    <a:cubicBezTo>
                      <a:pt x="2722" y="761"/>
                      <a:pt x="2737" y="746"/>
                      <a:pt x="2755" y="746"/>
                    </a:cubicBezTo>
                    <a:close/>
                    <a:moveTo>
                      <a:pt x="2790" y="580"/>
                    </a:moveTo>
                    <a:lnTo>
                      <a:pt x="3190" y="780"/>
                    </a:lnTo>
                    <a:lnTo>
                      <a:pt x="2790" y="980"/>
                    </a:lnTo>
                    <a:lnTo>
                      <a:pt x="2790" y="580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" name="Freeform 292"/>
              <p:cNvSpPr>
                <a:spLocks noEditPoints="1"/>
              </p:cNvSpPr>
              <p:nvPr/>
            </p:nvSpPr>
            <p:spPr bwMode="auto">
              <a:xfrm>
                <a:off x="1246438" y="2051334"/>
                <a:ext cx="1161357" cy="1546725"/>
              </a:xfrm>
              <a:custGeom>
                <a:avLst/>
                <a:gdLst>
                  <a:gd name="T0" fmla="*/ 2147483647 w 5530"/>
                  <a:gd name="T1" fmla="*/ 2147483647 h 7364"/>
                  <a:gd name="T2" fmla="*/ 0 w 5530"/>
                  <a:gd name="T3" fmla="*/ 2147483647 h 7364"/>
                  <a:gd name="T4" fmla="*/ 2147483647 w 5530"/>
                  <a:gd name="T5" fmla="*/ 2147483647 h 7364"/>
                  <a:gd name="T6" fmla="*/ 0 w 5530"/>
                  <a:gd name="T7" fmla="*/ 2147483647 h 7364"/>
                  <a:gd name="T8" fmla="*/ 2147483647 w 5530"/>
                  <a:gd name="T9" fmla="*/ 2147483647 h 7364"/>
                  <a:gd name="T10" fmla="*/ 2147483647 w 5530"/>
                  <a:gd name="T11" fmla="*/ 2147483647 h 7364"/>
                  <a:gd name="T12" fmla="*/ 0 w 5530"/>
                  <a:gd name="T13" fmla="*/ 2147483647 h 7364"/>
                  <a:gd name="T14" fmla="*/ 2147483647 w 5530"/>
                  <a:gd name="T15" fmla="*/ 2147483647 h 7364"/>
                  <a:gd name="T16" fmla="*/ 0 w 5530"/>
                  <a:gd name="T17" fmla="*/ 2147483647 h 7364"/>
                  <a:gd name="T18" fmla="*/ 2147483647 w 5530"/>
                  <a:gd name="T19" fmla="*/ 2147483647 h 7364"/>
                  <a:gd name="T20" fmla="*/ 0 w 5530"/>
                  <a:gd name="T21" fmla="*/ 2147483647 h 7364"/>
                  <a:gd name="T22" fmla="*/ 2147483647 w 5530"/>
                  <a:gd name="T23" fmla="*/ 2147483647 h 7364"/>
                  <a:gd name="T24" fmla="*/ 2147483647 w 5530"/>
                  <a:gd name="T25" fmla="*/ 2147483647 h 7364"/>
                  <a:gd name="T26" fmla="*/ 0 w 5530"/>
                  <a:gd name="T27" fmla="*/ 2147483647 h 7364"/>
                  <a:gd name="T28" fmla="*/ 2147483647 w 5530"/>
                  <a:gd name="T29" fmla="*/ 2147483647 h 7364"/>
                  <a:gd name="T30" fmla="*/ 0 w 5530"/>
                  <a:gd name="T31" fmla="*/ 2147483647 h 7364"/>
                  <a:gd name="T32" fmla="*/ 2147483647 w 5530"/>
                  <a:gd name="T33" fmla="*/ 2147483647 h 7364"/>
                  <a:gd name="T34" fmla="*/ 2147483647 w 5530"/>
                  <a:gd name="T35" fmla="*/ 2147483647 h 7364"/>
                  <a:gd name="T36" fmla="*/ 2147483647 w 5530"/>
                  <a:gd name="T37" fmla="*/ 2147483647 h 7364"/>
                  <a:gd name="T38" fmla="*/ 2147483647 w 5530"/>
                  <a:gd name="T39" fmla="*/ 2147483647 h 7364"/>
                  <a:gd name="T40" fmla="*/ 2147483647 w 5530"/>
                  <a:gd name="T41" fmla="*/ 2147483647 h 7364"/>
                  <a:gd name="T42" fmla="*/ 2147483647 w 5530"/>
                  <a:gd name="T43" fmla="*/ 2147483647 h 7364"/>
                  <a:gd name="T44" fmla="*/ 2147483647 w 5530"/>
                  <a:gd name="T45" fmla="*/ 2147483647 h 7364"/>
                  <a:gd name="T46" fmla="*/ 2147483647 w 5530"/>
                  <a:gd name="T47" fmla="*/ 2147483647 h 7364"/>
                  <a:gd name="T48" fmla="*/ 2147483647 w 5530"/>
                  <a:gd name="T49" fmla="*/ 2147483647 h 7364"/>
                  <a:gd name="T50" fmla="*/ 2147483647 w 5530"/>
                  <a:gd name="T51" fmla="*/ 2147483647 h 7364"/>
                  <a:gd name="T52" fmla="*/ 2147483647 w 5530"/>
                  <a:gd name="T53" fmla="*/ 2147483647 h 7364"/>
                  <a:gd name="T54" fmla="*/ 2147483647 w 5530"/>
                  <a:gd name="T55" fmla="*/ 2147483647 h 7364"/>
                  <a:gd name="T56" fmla="*/ 2147483647 w 5530"/>
                  <a:gd name="T57" fmla="*/ 2147483647 h 7364"/>
                  <a:gd name="T58" fmla="*/ 2147483647 w 5530"/>
                  <a:gd name="T59" fmla="*/ 2147483647 h 7364"/>
                  <a:gd name="T60" fmla="*/ 2147483647 w 5530"/>
                  <a:gd name="T61" fmla="*/ 2147483647 h 7364"/>
                  <a:gd name="T62" fmla="*/ 2147483647 w 5530"/>
                  <a:gd name="T63" fmla="*/ 2147483647 h 7364"/>
                  <a:gd name="T64" fmla="*/ 2147483647 w 5530"/>
                  <a:gd name="T65" fmla="*/ 2147483647 h 7364"/>
                  <a:gd name="T66" fmla="*/ 2147483647 w 5530"/>
                  <a:gd name="T67" fmla="*/ 2147483647 h 7364"/>
                  <a:gd name="T68" fmla="*/ 2147483647 w 5530"/>
                  <a:gd name="T69" fmla="*/ 2147483647 h 7364"/>
                  <a:gd name="T70" fmla="*/ 2147483647 w 5530"/>
                  <a:gd name="T71" fmla="*/ 2147483647 h 7364"/>
                  <a:gd name="T72" fmla="*/ 2147483647 w 5530"/>
                  <a:gd name="T73" fmla="*/ 2147483647 h 7364"/>
                  <a:gd name="T74" fmla="*/ 2147483647 w 5530"/>
                  <a:gd name="T75" fmla="*/ 2147483647 h 7364"/>
                  <a:gd name="T76" fmla="*/ 2147483647 w 5530"/>
                  <a:gd name="T77" fmla="*/ 2147483647 h 7364"/>
                  <a:gd name="T78" fmla="*/ 2147483647 w 5530"/>
                  <a:gd name="T79" fmla="*/ 2147483647 h 7364"/>
                  <a:gd name="T80" fmla="*/ 2147483647 w 5530"/>
                  <a:gd name="T81" fmla="*/ 2147483647 h 7364"/>
                  <a:gd name="T82" fmla="*/ 2147483647 w 5530"/>
                  <a:gd name="T83" fmla="*/ 2147483647 h 7364"/>
                  <a:gd name="T84" fmla="*/ 2147483647 w 5530"/>
                  <a:gd name="T85" fmla="*/ 2147483647 h 7364"/>
                  <a:gd name="T86" fmla="*/ 2147483647 w 5530"/>
                  <a:gd name="T87" fmla="*/ 2147483647 h 7364"/>
                  <a:gd name="T88" fmla="*/ 2147483647 w 5530"/>
                  <a:gd name="T89" fmla="*/ 2147483647 h 7364"/>
                  <a:gd name="T90" fmla="*/ 2147483647 w 5530"/>
                  <a:gd name="T91" fmla="*/ 2147483647 h 7364"/>
                  <a:gd name="T92" fmla="*/ 2147483647 w 5530"/>
                  <a:gd name="T93" fmla="*/ 2147483647 h 7364"/>
                  <a:gd name="T94" fmla="*/ 2147483647 w 5530"/>
                  <a:gd name="T95" fmla="*/ 2147483647 h 7364"/>
                  <a:gd name="T96" fmla="*/ 2147483647 w 5530"/>
                  <a:gd name="T97" fmla="*/ 2147483647 h 7364"/>
                  <a:gd name="T98" fmla="*/ 2147483647 w 5530"/>
                  <a:gd name="T99" fmla="*/ 2147483647 h 7364"/>
                  <a:gd name="T100" fmla="*/ 2147483647 w 5530"/>
                  <a:gd name="T101" fmla="*/ 2147483647 h 7364"/>
                  <a:gd name="T102" fmla="*/ 2147483647 w 5530"/>
                  <a:gd name="T103" fmla="*/ 2147483647 h 7364"/>
                  <a:gd name="T104" fmla="*/ 2147483647 w 5530"/>
                  <a:gd name="T105" fmla="*/ 2147483647 h 7364"/>
                  <a:gd name="T106" fmla="*/ 2147483647 w 5530"/>
                  <a:gd name="T107" fmla="*/ 2147483647 h 7364"/>
                  <a:gd name="T108" fmla="*/ 2147483647 w 5530"/>
                  <a:gd name="T109" fmla="*/ 2147483647 h 7364"/>
                  <a:gd name="T110" fmla="*/ 2147483647 w 5530"/>
                  <a:gd name="T111" fmla="*/ 2147483647 h 7364"/>
                  <a:gd name="T112" fmla="*/ 2147483647 w 5530"/>
                  <a:gd name="T113" fmla="*/ 2147483647 h 7364"/>
                  <a:gd name="T114" fmla="*/ 2147483647 w 5530"/>
                  <a:gd name="T115" fmla="*/ 2147483647 h 7364"/>
                  <a:gd name="T116" fmla="*/ 2147483647 w 5530"/>
                  <a:gd name="T117" fmla="*/ 2147483647 h 736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530" h="7364">
                    <a:moveTo>
                      <a:pt x="0" y="7331"/>
                    </a:moveTo>
                    <a:lnTo>
                      <a:pt x="0" y="7331"/>
                    </a:lnTo>
                    <a:cubicBezTo>
                      <a:pt x="0" y="7312"/>
                      <a:pt x="15" y="7297"/>
                      <a:pt x="34" y="7297"/>
                    </a:cubicBezTo>
                    <a:cubicBezTo>
                      <a:pt x="52" y="7297"/>
                      <a:pt x="67" y="7312"/>
                      <a:pt x="67" y="7330"/>
                    </a:cubicBezTo>
                    <a:cubicBezTo>
                      <a:pt x="67" y="7349"/>
                      <a:pt x="52" y="7364"/>
                      <a:pt x="34" y="7364"/>
                    </a:cubicBezTo>
                    <a:cubicBezTo>
                      <a:pt x="16" y="7364"/>
                      <a:pt x="1" y="7349"/>
                      <a:pt x="0" y="7331"/>
                    </a:cubicBezTo>
                    <a:close/>
                    <a:moveTo>
                      <a:pt x="0" y="7197"/>
                    </a:moveTo>
                    <a:lnTo>
                      <a:pt x="0" y="7197"/>
                    </a:lnTo>
                    <a:cubicBezTo>
                      <a:pt x="0" y="7179"/>
                      <a:pt x="15" y="7164"/>
                      <a:pt x="34" y="7164"/>
                    </a:cubicBezTo>
                    <a:cubicBezTo>
                      <a:pt x="52" y="7164"/>
                      <a:pt x="67" y="7179"/>
                      <a:pt x="67" y="7197"/>
                    </a:cubicBezTo>
                    <a:cubicBezTo>
                      <a:pt x="67" y="7215"/>
                      <a:pt x="52" y="7230"/>
                      <a:pt x="34" y="7230"/>
                    </a:cubicBezTo>
                    <a:cubicBezTo>
                      <a:pt x="15" y="7230"/>
                      <a:pt x="0" y="7215"/>
                      <a:pt x="0" y="7197"/>
                    </a:cubicBezTo>
                    <a:close/>
                    <a:moveTo>
                      <a:pt x="0" y="7064"/>
                    </a:moveTo>
                    <a:lnTo>
                      <a:pt x="0" y="7064"/>
                    </a:lnTo>
                    <a:cubicBezTo>
                      <a:pt x="0" y="7045"/>
                      <a:pt x="15" y="7030"/>
                      <a:pt x="34" y="7030"/>
                    </a:cubicBezTo>
                    <a:cubicBezTo>
                      <a:pt x="52" y="7030"/>
                      <a:pt x="67" y="7045"/>
                      <a:pt x="67" y="7064"/>
                    </a:cubicBezTo>
                    <a:cubicBezTo>
                      <a:pt x="67" y="7082"/>
                      <a:pt x="52" y="7097"/>
                      <a:pt x="34" y="7097"/>
                    </a:cubicBezTo>
                    <a:cubicBezTo>
                      <a:pt x="15" y="7097"/>
                      <a:pt x="0" y="7082"/>
                      <a:pt x="0" y="7064"/>
                    </a:cubicBezTo>
                    <a:close/>
                    <a:moveTo>
                      <a:pt x="0" y="6930"/>
                    </a:moveTo>
                    <a:lnTo>
                      <a:pt x="0" y="6930"/>
                    </a:lnTo>
                    <a:cubicBezTo>
                      <a:pt x="0" y="6912"/>
                      <a:pt x="15" y="6897"/>
                      <a:pt x="34" y="6897"/>
                    </a:cubicBezTo>
                    <a:cubicBezTo>
                      <a:pt x="52" y="6897"/>
                      <a:pt x="67" y="6912"/>
                      <a:pt x="67" y="6930"/>
                    </a:cubicBezTo>
                    <a:cubicBezTo>
                      <a:pt x="67" y="6949"/>
                      <a:pt x="52" y="6964"/>
                      <a:pt x="34" y="6964"/>
                    </a:cubicBezTo>
                    <a:cubicBezTo>
                      <a:pt x="15" y="6964"/>
                      <a:pt x="0" y="6949"/>
                      <a:pt x="0" y="6930"/>
                    </a:cubicBezTo>
                    <a:close/>
                    <a:moveTo>
                      <a:pt x="0" y="6797"/>
                    </a:moveTo>
                    <a:lnTo>
                      <a:pt x="0" y="6797"/>
                    </a:lnTo>
                    <a:cubicBezTo>
                      <a:pt x="0" y="6778"/>
                      <a:pt x="15" y="6763"/>
                      <a:pt x="34" y="6763"/>
                    </a:cubicBezTo>
                    <a:cubicBezTo>
                      <a:pt x="52" y="6763"/>
                      <a:pt x="67" y="6778"/>
                      <a:pt x="67" y="6797"/>
                    </a:cubicBezTo>
                    <a:cubicBezTo>
                      <a:pt x="67" y="6815"/>
                      <a:pt x="52" y="6830"/>
                      <a:pt x="34" y="6830"/>
                    </a:cubicBezTo>
                    <a:cubicBezTo>
                      <a:pt x="15" y="6830"/>
                      <a:pt x="0" y="6815"/>
                      <a:pt x="0" y="6797"/>
                    </a:cubicBezTo>
                    <a:close/>
                    <a:moveTo>
                      <a:pt x="0" y="6663"/>
                    </a:moveTo>
                    <a:lnTo>
                      <a:pt x="0" y="6663"/>
                    </a:lnTo>
                    <a:cubicBezTo>
                      <a:pt x="0" y="6645"/>
                      <a:pt x="15" y="6630"/>
                      <a:pt x="34" y="6630"/>
                    </a:cubicBezTo>
                    <a:cubicBezTo>
                      <a:pt x="52" y="6630"/>
                      <a:pt x="67" y="6645"/>
                      <a:pt x="67" y="6663"/>
                    </a:cubicBezTo>
                    <a:cubicBezTo>
                      <a:pt x="67" y="6682"/>
                      <a:pt x="52" y="6697"/>
                      <a:pt x="34" y="6697"/>
                    </a:cubicBezTo>
                    <a:cubicBezTo>
                      <a:pt x="15" y="6697"/>
                      <a:pt x="0" y="6682"/>
                      <a:pt x="0" y="6663"/>
                    </a:cubicBezTo>
                    <a:close/>
                    <a:moveTo>
                      <a:pt x="0" y="6530"/>
                    </a:moveTo>
                    <a:lnTo>
                      <a:pt x="0" y="6530"/>
                    </a:lnTo>
                    <a:cubicBezTo>
                      <a:pt x="0" y="6512"/>
                      <a:pt x="15" y="6497"/>
                      <a:pt x="34" y="6497"/>
                    </a:cubicBezTo>
                    <a:cubicBezTo>
                      <a:pt x="52" y="6497"/>
                      <a:pt x="67" y="6512"/>
                      <a:pt x="67" y="6530"/>
                    </a:cubicBezTo>
                    <a:cubicBezTo>
                      <a:pt x="67" y="6548"/>
                      <a:pt x="52" y="6563"/>
                      <a:pt x="34" y="6563"/>
                    </a:cubicBezTo>
                    <a:cubicBezTo>
                      <a:pt x="15" y="6563"/>
                      <a:pt x="0" y="6548"/>
                      <a:pt x="0" y="6530"/>
                    </a:cubicBezTo>
                    <a:close/>
                    <a:moveTo>
                      <a:pt x="0" y="6397"/>
                    </a:moveTo>
                    <a:lnTo>
                      <a:pt x="0" y="6397"/>
                    </a:lnTo>
                    <a:cubicBezTo>
                      <a:pt x="0" y="6378"/>
                      <a:pt x="15" y="6363"/>
                      <a:pt x="34" y="6363"/>
                    </a:cubicBezTo>
                    <a:cubicBezTo>
                      <a:pt x="52" y="6363"/>
                      <a:pt x="67" y="6378"/>
                      <a:pt x="67" y="6397"/>
                    </a:cubicBezTo>
                    <a:cubicBezTo>
                      <a:pt x="67" y="6415"/>
                      <a:pt x="52" y="6430"/>
                      <a:pt x="34" y="6430"/>
                    </a:cubicBezTo>
                    <a:cubicBezTo>
                      <a:pt x="15" y="6430"/>
                      <a:pt x="0" y="6415"/>
                      <a:pt x="0" y="6397"/>
                    </a:cubicBezTo>
                    <a:close/>
                    <a:moveTo>
                      <a:pt x="0" y="6263"/>
                    </a:moveTo>
                    <a:lnTo>
                      <a:pt x="0" y="6263"/>
                    </a:lnTo>
                    <a:cubicBezTo>
                      <a:pt x="0" y="6245"/>
                      <a:pt x="15" y="6230"/>
                      <a:pt x="34" y="6230"/>
                    </a:cubicBezTo>
                    <a:cubicBezTo>
                      <a:pt x="52" y="6230"/>
                      <a:pt x="67" y="6245"/>
                      <a:pt x="67" y="6263"/>
                    </a:cubicBezTo>
                    <a:cubicBezTo>
                      <a:pt x="67" y="6282"/>
                      <a:pt x="52" y="6297"/>
                      <a:pt x="34" y="6297"/>
                    </a:cubicBezTo>
                    <a:cubicBezTo>
                      <a:pt x="15" y="6297"/>
                      <a:pt x="0" y="6282"/>
                      <a:pt x="0" y="6263"/>
                    </a:cubicBezTo>
                    <a:close/>
                    <a:moveTo>
                      <a:pt x="0" y="6130"/>
                    </a:moveTo>
                    <a:lnTo>
                      <a:pt x="0" y="6130"/>
                    </a:lnTo>
                    <a:cubicBezTo>
                      <a:pt x="0" y="6111"/>
                      <a:pt x="15" y="6096"/>
                      <a:pt x="34" y="6096"/>
                    </a:cubicBezTo>
                    <a:cubicBezTo>
                      <a:pt x="52" y="6096"/>
                      <a:pt x="67" y="6111"/>
                      <a:pt x="67" y="6130"/>
                    </a:cubicBezTo>
                    <a:cubicBezTo>
                      <a:pt x="67" y="6148"/>
                      <a:pt x="52" y="6163"/>
                      <a:pt x="34" y="6163"/>
                    </a:cubicBezTo>
                    <a:cubicBezTo>
                      <a:pt x="15" y="6163"/>
                      <a:pt x="0" y="6148"/>
                      <a:pt x="0" y="6130"/>
                    </a:cubicBezTo>
                    <a:close/>
                    <a:moveTo>
                      <a:pt x="0" y="5996"/>
                    </a:moveTo>
                    <a:lnTo>
                      <a:pt x="0" y="5996"/>
                    </a:lnTo>
                    <a:cubicBezTo>
                      <a:pt x="0" y="5978"/>
                      <a:pt x="15" y="5963"/>
                      <a:pt x="34" y="5963"/>
                    </a:cubicBezTo>
                    <a:cubicBezTo>
                      <a:pt x="52" y="5963"/>
                      <a:pt x="67" y="5978"/>
                      <a:pt x="67" y="5996"/>
                    </a:cubicBezTo>
                    <a:cubicBezTo>
                      <a:pt x="67" y="6015"/>
                      <a:pt x="52" y="6030"/>
                      <a:pt x="34" y="6030"/>
                    </a:cubicBezTo>
                    <a:cubicBezTo>
                      <a:pt x="15" y="6030"/>
                      <a:pt x="0" y="6015"/>
                      <a:pt x="0" y="5996"/>
                    </a:cubicBezTo>
                    <a:close/>
                    <a:moveTo>
                      <a:pt x="0" y="5863"/>
                    </a:moveTo>
                    <a:lnTo>
                      <a:pt x="0" y="5863"/>
                    </a:lnTo>
                    <a:cubicBezTo>
                      <a:pt x="0" y="5845"/>
                      <a:pt x="15" y="5830"/>
                      <a:pt x="34" y="5830"/>
                    </a:cubicBezTo>
                    <a:cubicBezTo>
                      <a:pt x="52" y="5830"/>
                      <a:pt x="67" y="5845"/>
                      <a:pt x="67" y="5863"/>
                    </a:cubicBezTo>
                    <a:cubicBezTo>
                      <a:pt x="67" y="5881"/>
                      <a:pt x="52" y="5896"/>
                      <a:pt x="34" y="5896"/>
                    </a:cubicBezTo>
                    <a:cubicBezTo>
                      <a:pt x="15" y="5896"/>
                      <a:pt x="0" y="5881"/>
                      <a:pt x="0" y="5863"/>
                    </a:cubicBezTo>
                    <a:close/>
                    <a:moveTo>
                      <a:pt x="0" y="5730"/>
                    </a:moveTo>
                    <a:lnTo>
                      <a:pt x="0" y="5730"/>
                    </a:lnTo>
                    <a:cubicBezTo>
                      <a:pt x="0" y="5711"/>
                      <a:pt x="15" y="5696"/>
                      <a:pt x="34" y="5696"/>
                    </a:cubicBezTo>
                    <a:cubicBezTo>
                      <a:pt x="52" y="5696"/>
                      <a:pt x="67" y="5711"/>
                      <a:pt x="67" y="5730"/>
                    </a:cubicBezTo>
                    <a:cubicBezTo>
                      <a:pt x="67" y="5748"/>
                      <a:pt x="52" y="5763"/>
                      <a:pt x="34" y="5763"/>
                    </a:cubicBezTo>
                    <a:cubicBezTo>
                      <a:pt x="15" y="5763"/>
                      <a:pt x="0" y="5748"/>
                      <a:pt x="0" y="5730"/>
                    </a:cubicBezTo>
                    <a:close/>
                    <a:moveTo>
                      <a:pt x="0" y="5596"/>
                    </a:moveTo>
                    <a:lnTo>
                      <a:pt x="0" y="5596"/>
                    </a:lnTo>
                    <a:cubicBezTo>
                      <a:pt x="0" y="5578"/>
                      <a:pt x="15" y="5563"/>
                      <a:pt x="34" y="5563"/>
                    </a:cubicBezTo>
                    <a:cubicBezTo>
                      <a:pt x="52" y="5563"/>
                      <a:pt x="67" y="5578"/>
                      <a:pt x="67" y="5596"/>
                    </a:cubicBezTo>
                    <a:cubicBezTo>
                      <a:pt x="67" y="5615"/>
                      <a:pt x="52" y="5630"/>
                      <a:pt x="34" y="5630"/>
                    </a:cubicBezTo>
                    <a:cubicBezTo>
                      <a:pt x="15" y="5630"/>
                      <a:pt x="0" y="5615"/>
                      <a:pt x="0" y="5596"/>
                    </a:cubicBezTo>
                    <a:close/>
                    <a:moveTo>
                      <a:pt x="0" y="5463"/>
                    </a:moveTo>
                    <a:lnTo>
                      <a:pt x="0" y="5463"/>
                    </a:lnTo>
                    <a:cubicBezTo>
                      <a:pt x="0" y="5444"/>
                      <a:pt x="15" y="5429"/>
                      <a:pt x="34" y="5429"/>
                    </a:cubicBezTo>
                    <a:cubicBezTo>
                      <a:pt x="52" y="5429"/>
                      <a:pt x="67" y="5444"/>
                      <a:pt x="67" y="5463"/>
                    </a:cubicBezTo>
                    <a:cubicBezTo>
                      <a:pt x="67" y="5481"/>
                      <a:pt x="52" y="5496"/>
                      <a:pt x="34" y="5496"/>
                    </a:cubicBezTo>
                    <a:cubicBezTo>
                      <a:pt x="15" y="5496"/>
                      <a:pt x="0" y="5481"/>
                      <a:pt x="0" y="5463"/>
                    </a:cubicBezTo>
                    <a:close/>
                    <a:moveTo>
                      <a:pt x="0" y="5329"/>
                    </a:moveTo>
                    <a:lnTo>
                      <a:pt x="0" y="5329"/>
                    </a:lnTo>
                    <a:cubicBezTo>
                      <a:pt x="0" y="5311"/>
                      <a:pt x="15" y="5296"/>
                      <a:pt x="34" y="5296"/>
                    </a:cubicBezTo>
                    <a:cubicBezTo>
                      <a:pt x="52" y="5296"/>
                      <a:pt x="67" y="5311"/>
                      <a:pt x="67" y="5329"/>
                    </a:cubicBezTo>
                    <a:cubicBezTo>
                      <a:pt x="67" y="5348"/>
                      <a:pt x="52" y="5363"/>
                      <a:pt x="34" y="5363"/>
                    </a:cubicBezTo>
                    <a:cubicBezTo>
                      <a:pt x="15" y="5363"/>
                      <a:pt x="0" y="5348"/>
                      <a:pt x="0" y="5329"/>
                    </a:cubicBezTo>
                    <a:close/>
                    <a:moveTo>
                      <a:pt x="0" y="5196"/>
                    </a:moveTo>
                    <a:lnTo>
                      <a:pt x="0" y="5196"/>
                    </a:lnTo>
                    <a:cubicBezTo>
                      <a:pt x="0" y="5178"/>
                      <a:pt x="15" y="5163"/>
                      <a:pt x="34" y="5163"/>
                    </a:cubicBezTo>
                    <a:cubicBezTo>
                      <a:pt x="52" y="5163"/>
                      <a:pt x="67" y="5178"/>
                      <a:pt x="67" y="5196"/>
                    </a:cubicBezTo>
                    <a:cubicBezTo>
                      <a:pt x="67" y="5214"/>
                      <a:pt x="52" y="5229"/>
                      <a:pt x="34" y="5229"/>
                    </a:cubicBezTo>
                    <a:cubicBezTo>
                      <a:pt x="15" y="5229"/>
                      <a:pt x="0" y="5214"/>
                      <a:pt x="0" y="5196"/>
                    </a:cubicBezTo>
                    <a:close/>
                    <a:moveTo>
                      <a:pt x="0" y="5063"/>
                    </a:moveTo>
                    <a:lnTo>
                      <a:pt x="0" y="5063"/>
                    </a:lnTo>
                    <a:cubicBezTo>
                      <a:pt x="0" y="5044"/>
                      <a:pt x="15" y="5029"/>
                      <a:pt x="34" y="5029"/>
                    </a:cubicBezTo>
                    <a:cubicBezTo>
                      <a:pt x="52" y="5029"/>
                      <a:pt x="67" y="5044"/>
                      <a:pt x="67" y="5063"/>
                    </a:cubicBezTo>
                    <a:cubicBezTo>
                      <a:pt x="67" y="5081"/>
                      <a:pt x="52" y="5096"/>
                      <a:pt x="34" y="5096"/>
                    </a:cubicBezTo>
                    <a:cubicBezTo>
                      <a:pt x="15" y="5096"/>
                      <a:pt x="0" y="5081"/>
                      <a:pt x="0" y="5063"/>
                    </a:cubicBezTo>
                    <a:close/>
                    <a:moveTo>
                      <a:pt x="0" y="4929"/>
                    </a:moveTo>
                    <a:lnTo>
                      <a:pt x="0" y="4929"/>
                    </a:lnTo>
                    <a:cubicBezTo>
                      <a:pt x="0" y="4911"/>
                      <a:pt x="15" y="4896"/>
                      <a:pt x="34" y="4896"/>
                    </a:cubicBezTo>
                    <a:cubicBezTo>
                      <a:pt x="52" y="4896"/>
                      <a:pt x="67" y="4911"/>
                      <a:pt x="67" y="4929"/>
                    </a:cubicBezTo>
                    <a:cubicBezTo>
                      <a:pt x="67" y="4948"/>
                      <a:pt x="52" y="4963"/>
                      <a:pt x="34" y="4963"/>
                    </a:cubicBezTo>
                    <a:cubicBezTo>
                      <a:pt x="15" y="4963"/>
                      <a:pt x="0" y="4948"/>
                      <a:pt x="0" y="4929"/>
                    </a:cubicBezTo>
                    <a:close/>
                    <a:moveTo>
                      <a:pt x="0" y="4796"/>
                    </a:moveTo>
                    <a:lnTo>
                      <a:pt x="0" y="4796"/>
                    </a:lnTo>
                    <a:cubicBezTo>
                      <a:pt x="0" y="4777"/>
                      <a:pt x="15" y="4762"/>
                      <a:pt x="34" y="4762"/>
                    </a:cubicBezTo>
                    <a:cubicBezTo>
                      <a:pt x="52" y="4762"/>
                      <a:pt x="67" y="4777"/>
                      <a:pt x="67" y="4796"/>
                    </a:cubicBezTo>
                    <a:cubicBezTo>
                      <a:pt x="67" y="4814"/>
                      <a:pt x="52" y="4829"/>
                      <a:pt x="34" y="4829"/>
                    </a:cubicBezTo>
                    <a:cubicBezTo>
                      <a:pt x="15" y="4829"/>
                      <a:pt x="0" y="4814"/>
                      <a:pt x="0" y="4796"/>
                    </a:cubicBezTo>
                    <a:close/>
                    <a:moveTo>
                      <a:pt x="0" y="4662"/>
                    </a:moveTo>
                    <a:lnTo>
                      <a:pt x="0" y="4662"/>
                    </a:lnTo>
                    <a:cubicBezTo>
                      <a:pt x="0" y="4644"/>
                      <a:pt x="15" y="4629"/>
                      <a:pt x="34" y="4629"/>
                    </a:cubicBezTo>
                    <a:cubicBezTo>
                      <a:pt x="52" y="4629"/>
                      <a:pt x="67" y="4644"/>
                      <a:pt x="67" y="4662"/>
                    </a:cubicBezTo>
                    <a:cubicBezTo>
                      <a:pt x="67" y="4681"/>
                      <a:pt x="52" y="4696"/>
                      <a:pt x="34" y="4696"/>
                    </a:cubicBezTo>
                    <a:cubicBezTo>
                      <a:pt x="15" y="4696"/>
                      <a:pt x="0" y="4681"/>
                      <a:pt x="0" y="4662"/>
                    </a:cubicBezTo>
                    <a:close/>
                    <a:moveTo>
                      <a:pt x="0" y="4529"/>
                    </a:moveTo>
                    <a:lnTo>
                      <a:pt x="0" y="4529"/>
                    </a:lnTo>
                    <a:cubicBezTo>
                      <a:pt x="0" y="4511"/>
                      <a:pt x="15" y="4496"/>
                      <a:pt x="34" y="4496"/>
                    </a:cubicBezTo>
                    <a:cubicBezTo>
                      <a:pt x="52" y="4496"/>
                      <a:pt x="67" y="4511"/>
                      <a:pt x="67" y="4529"/>
                    </a:cubicBezTo>
                    <a:cubicBezTo>
                      <a:pt x="67" y="4547"/>
                      <a:pt x="52" y="4562"/>
                      <a:pt x="34" y="4562"/>
                    </a:cubicBezTo>
                    <a:cubicBezTo>
                      <a:pt x="15" y="4562"/>
                      <a:pt x="0" y="4547"/>
                      <a:pt x="0" y="4529"/>
                    </a:cubicBezTo>
                    <a:close/>
                    <a:moveTo>
                      <a:pt x="0" y="4396"/>
                    </a:moveTo>
                    <a:lnTo>
                      <a:pt x="0" y="4396"/>
                    </a:lnTo>
                    <a:cubicBezTo>
                      <a:pt x="0" y="4377"/>
                      <a:pt x="15" y="4362"/>
                      <a:pt x="34" y="4362"/>
                    </a:cubicBezTo>
                    <a:cubicBezTo>
                      <a:pt x="52" y="4362"/>
                      <a:pt x="67" y="4377"/>
                      <a:pt x="67" y="4396"/>
                    </a:cubicBezTo>
                    <a:cubicBezTo>
                      <a:pt x="67" y="4414"/>
                      <a:pt x="52" y="4429"/>
                      <a:pt x="34" y="4429"/>
                    </a:cubicBezTo>
                    <a:cubicBezTo>
                      <a:pt x="15" y="4429"/>
                      <a:pt x="0" y="4414"/>
                      <a:pt x="0" y="4396"/>
                    </a:cubicBezTo>
                    <a:close/>
                    <a:moveTo>
                      <a:pt x="0" y="4262"/>
                    </a:moveTo>
                    <a:lnTo>
                      <a:pt x="0" y="4262"/>
                    </a:lnTo>
                    <a:cubicBezTo>
                      <a:pt x="0" y="4244"/>
                      <a:pt x="15" y="4229"/>
                      <a:pt x="34" y="4229"/>
                    </a:cubicBezTo>
                    <a:cubicBezTo>
                      <a:pt x="52" y="4229"/>
                      <a:pt x="67" y="4244"/>
                      <a:pt x="67" y="4262"/>
                    </a:cubicBezTo>
                    <a:cubicBezTo>
                      <a:pt x="67" y="4281"/>
                      <a:pt x="52" y="4296"/>
                      <a:pt x="34" y="4296"/>
                    </a:cubicBezTo>
                    <a:cubicBezTo>
                      <a:pt x="15" y="4296"/>
                      <a:pt x="0" y="4281"/>
                      <a:pt x="0" y="4262"/>
                    </a:cubicBezTo>
                    <a:close/>
                    <a:moveTo>
                      <a:pt x="0" y="4129"/>
                    </a:moveTo>
                    <a:lnTo>
                      <a:pt x="0" y="4129"/>
                    </a:lnTo>
                    <a:cubicBezTo>
                      <a:pt x="0" y="4110"/>
                      <a:pt x="15" y="4095"/>
                      <a:pt x="34" y="4095"/>
                    </a:cubicBezTo>
                    <a:cubicBezTo>
                      <a:pt x="52" y="4095"/>
                      <a:pt x="67" y="4110"/>
                      <a:pt x="67" y="4129"/>
                    </a:cubicBezTo>
                    <a:cubicBezTo>
                      <a:pt x="67" y="4147"/>
                      <a:pt x="52" y="4162"/>
                      <a:pt x="34" y="4162"/>
                    </a:cubicBezTo>
                    <a:cubicBezTo>
                      <a:pt x="15" y="4162"/>
                      <a:pt x="0" y="4147"/>
                      <a:pt x="0" y="4129"/>
                    </a:cubicBezTo>
                    <a:close/>
                    <a:moveTo>
                      <a:pt x="0" y="3995"/>
                    </a:moveTo>
                    <a:lnTo>
                      <a:pt x="0" y="3995"/>
                    </a:lnTo>
                    <a:cubicBezTo>
                      <a:pt x="0" y="3977"/>
                      <a:pt x="15" y="3962"/>
                      <a:pt x="34" y="3962"/>
                    </a:cubicBezTo>
                    <a:cubicBezTo>
                      <a:pt x="52" y="3962"/>
                      <a:pt x="67" y="3977"/>
                      <a:pt x="67" y="3995"/>
                    </a:cubicBezTo>
                    <a:cubicBezTo>
                      <a:pt x="67" y="4014"/>
                      <a:pt x="52" y="4029"/>
                      <a:pt x="34" y="4029"/>
                    </a:cubicBezTo>
                    <a:cubicBezTo>
                      <a:pt x="15" y="4029"/>
                      <a:pt x="0" y="4014"/>
                      <a:pt x="0" y="3995"/>
                    </a:cubicBezTo>
                    <a:close/>
                    <a:moveTo>
                      <a:pt x="0" y="3862"/>
                    </a:moveTo>
                    <a:lnTo>
                      <a:pt x="0" y="3862"/>
                    </a:lnTo>
                    <a:cubicBezTo>
                      <a:pt x="0" y="3844"/>
                      <a:pt x="15" y="3829"/>
                      <a:pt x="34" y="3829"/>
                    </a:cubicBezTo>
                    <a:cubicBezTo>
                      <a:pt x="52" y="3829"/>
                      <a:pt x="67" y="3844"/>
                      <a:pt x="67" y="3862"/>
                    </a:cubicBezTo>
                    <a:cubicBezTo>
                      <a:pt x="67" y="3880"/>
                      <a:pt x="52" y="3895"/>
                      <a:pt x="34" y="3895"/>
                    </a:cubicBezTo>
                    <a:cubicBezTo>
                      <a:pt x="15" y="3895"/>
                      <a:pt x="0" y="3880"/>
                      <a:pt x="0" y="3862"/>
                    </a:cubicBezTo>
                    <a:close/>
                    <a:moveTo>
                      <a:pt x="0" y="3729"/>
                    </a:moveTo>
                    <a:lnTo>
                      <a:pt x="0" y="3729"/>
                    </a:lnTo>
                    <a:cubicBezTo>
                      <a:pt x="0" y="3710"/>
                      <a:pt x="15" y="3695"/>
                      <a:pt x="34" y="3695"/>
                    </a:cubicBezTo>
                    <a:cubicBezTo>
                      <a:pt x="52" y="3695"/>
                      <a:pt x="67" y="3710"/>
                      <a:pt x="67" y="3729"/>
                    </a:cubicBezTo>
                    <a:cubicBezTo>
                      <a:pt x="67" y="3747"/>
                      <a:pt x="52" y="3762"/>
                      <a:pt x="34" y="3762"/>
                    </a:cubicBezTo>
                    <a:cubicBezTo>
                      <a:pt x="15" y="3762"/>
                      <a:pt x="0" y="3747"/>
                      <a:pt x="0" y="3729"/>
                    </a:cubicBezTo>
                    <a:close/>
                    <a:moveTo>
                      <a:pt x="106" y="3634"/>
                    </a:moveTo>
                    <a:lnTo>
                      <a:pt x="106" y="3634"/>
                    </a:lnTo>
                    <a:cubicBezTo>
                      <a:pt x="124" y="3634"/>
                      <a:pt x="139" y="3649"/>
                      <a:pt x="139" y="3667"/>
                    </a:cubicBezTo>
                    <a:cubicBezTo>
                      <a:pt x="139" y="3686"/>
                      <a:pt x="124" y="3700"/>
                      <a:pt x="106" y="3700"/>
                    </a:cubicBezTo>
                    <a:cubicBezTo>
                      <a:pt x="87" y="3700"/>
                      <a:pt x="72" y="3686"/>
                      <a:pt x="72" y="3667"/>
                    </a:cubicBezTo>
                    <a:cubicBezTo>
                      <a:pt x="72" y="3649"/>
                      <a:pt x="87" y="3634"/>
                      <a:pt x="106" y="3634"/>
                    </a:cubicBezTo>
                    <a:close/>
                    <a:moveTo>
                      <a:pt x="239" y="3634"/>
                    </a:moveTo>
                    <a:lnTo>
                      <a:pt x="239" y="3634"/>
                    </a:lnTo>
                    <a:cubicBezTo>
                      <a:pt x="258" y="3634"/>
                      <a:pt x="273" y="3649"/>
                      <a:pt x="273" y="3667"/>
                    </a:cubicBezTo>
                    <a:cubicBezTo>
                      <a:pt x="273" y="3686"/>
                      <a:pt x="258" y="3700"/>
                      <a:pt x="239" y="3700"/>
                    </a:cubicBezTo>
                    <a:cubicBezTo>
                      <a:pt x="221" y="3700"/>
                      <a:pt x="206" y="3686"/>
                      <a:pt x="206" y="3667"/>
                    </a:cubicBezTo>
                    <a:cubicBezTo>
                      <a:pt x="206" y="3649"/>
                      <a:pt x="221" y="3634"/>
                      <a:pt x="239" y="3634"/>
                    </a:cubicBezTo>
                    <a:close/>
                    <a:moveTo>
                      <a:pt x="373" y="3634"/>
                    </a:moveTo>
                    <a:lnTo>
                      <a:pt x="373" y="3634"/>
                    </a:lnTo>
                    <a:cubicBezTo>
                      <a:pt x="391" y="3634"/>
                      <a:pt x="406" y="3649"/>
                      <a:pt x="406" y="3667"/>
                    </a:cubicBezTo>
                    <a:cubicBezTo>
                      <a:pt x="406" y="3686"/>
                      <a:pt x="391" y="3700"/>
                      <a:pt x="373" y="3700"/>
                    </a:cubicBezTo>
                    <a:cubicBezTo>
                      <a:pt x="354" y="3700"/>
                      <a:pt x="339" y="3686"/>
                      <a:pt x="339" y="3667"/>
                    </a:cubicBezTo>
                    <a:cubicBezTo>
                      <a:pt x="339" y="3649"/>
                      <a:pt x="354" y="3634"/>
                      <a:pt x="373" y="3634"/>
                    </a:cubicBezTo>
                    <a:close/>
                    <a:moveTo>
                      <a:pt x="506" y="3634"/>
                    </a:moveTo>
                    <a:lnTo>
                      <a:pt x="506" y="3634"/>
                    </a:lnTo>
                    <a:cubicBezTo>
                      <a:pt x="524" y="3634"/>
                      <a:pt x="539" y="3649"/>
                      <a:pt x="539" y="3667"/>
                    </a:cubicBezTo>
                    <a:cubicBezTo>
                      <a:pt x="539" y="3686"/>
                      <a:pt x="524" y="3700"/>
                      <a:pt x="506" y="3700"/>
                    </a:cubicBezTo>
                    <a:cubicBezTo>
                      <a:pt x="487" y="3700"/>
                      <a:pt x="473" y="3686"/>
                      <a:pt x="473" y="3667"/>
                    </a:cubicBezTo>
                    <a:cubicBezTo>
                      <a:pt x="473" y="3649"/>
                      <a:pt x="487" y="3634"/>
                      <a:pt x="506" y="3634"/>
                    </a:cubicBezTo>
                    <a:close/>
                    <a:moveTo>
                      <a:pt x="639" y="3634"/>
                    </a:moveTo>
                    <a:lnTo>
                      <a:pt x="639" y="3634"/>
                    </a:lnTo>
                    <a:cubicBezTo>
                      <a:pt x="658" y="3634"/>
                      <a:pt x="673" y="3649"/>
                      <a:pt x="673" y="3667"/>
                    </a:cubicBezTo>
                    <a:cubicBezTo>
                      <a:pt x="673" y="3686"/>
                      <a:pt x="658" y="3700"/>
                      <a:pt x="639" y="3700"/>
                    </a:cubicBezTo>
                    <a:cubicBezTo>
                      <a:pt x="621" y="3700"/>
                      <a:pt x="606" y="3686"/>
                      <a:pt x="606" y="3667"/>
                    </a:cubicBezTo>
                    <a:cubicBezTo>
                      <a:pt x="606" y="3649"/>
                      <a:pt x="621" y="3634"/>
                      <a:pt x="639" y="3634"/>
                    </a:cubicBezTo>
                    <a:close/>
                    <a:moveTo>
                      <a:pt x="773" y="3634"/>
                    </a:moveTo>
                    <a:lnTo>
                      <a:pt x="773" y="3634"/>
                    </a:lnTo>
                    <a:cubicBezTo>
                      <a:pt x="791" y="3634"/>
                      <a:pt x="806" y="3649"/>
                      <a:pt x="806" y="3667"/>
                    </a:cubicBezTo>
                    <a:cubicBezTo>
                      <a:pt x="806" y="3686"/>
                      <a:pt x="791" y="3700"/>
                      <a:pt x="773" y="3700"/>
                    </a:cubicBezTo>
                    <a:cubicBezTo>
                      <a:pt x="754" y="3700"/>
                      <a:pt x="739" y="3686"/>
                      <a:pt x="739" y="3667"/>
                    </a:cubicBezTo>
                    <a:cubicBezTo>
                      <a:pt x="739" y="3649"/>
                      <a:pt x="754" y="3634"/>
                      <a:pt x="773" y="3634"/>
                    </a:cubicBezTo>
                    <a:close/>
                    <a:moveTo>
                      <a:pt x="906" y="3634"/>
                    </a:moveTo>
                    <a:lnTo>
                      <a:pt x="906" y="3634"/>
                    </a:lnTo>
                    <a:cubicBezTo>
                      <a:pt x="925" y="3634"/>
                      <a:pt x="940" y="3649"/>
                      <a:pt x="940" y="3667"/>
                    </a:cubicBezTo>
                    <a:cubicBezTo>
                      <a:pt x="940" y="3686"/>
                      <a:pt x="925" y="3700"/>
                      <a:pt x="906" y="3700"/>
                    </a:cubicBezTo>
                    <a:cubicBezTo>
                      <a:pt x="888" y="3700"/>
                      <a:pt x="873" y="3686"/>
                      <a:pt x="873" y="3667"/>
                    </a:cubicBezTo>
                    <a:cubicBezTo>
                      <a:pt x="873" y="3649"/>
                      <a:pt x="888" y="3634"/>
                      <a:pt x="906" y="3634"/>
                    </a:cubicBezTo>
                    <a:close/>
                    <a:moveTo>
                      <a:pt x="1040" y="3634"/>
                    </a:moveTo>
                    <a:lnTo>
                      <a:pt x="1040" y="3634"/>
                    </a:lnTo>
                    <a:cubicBezTo>
                      <a:pt x="1058" y="3634"/>
                      <a:pt x="1073" y="3649"/>
                      <a:pt x="1073" y="3667"/>
                    </a:cubicBezTo>
                    <a:cubicBezTo>
                      <a:pt x="1073" y="3686"/>
                      <a:pt x="1058" y="3700"/>
                      <a:pt x="1040" y="3700"/>
                    </a:cubicBezTo>
                    <a:cubicBezTo>
                      <a:pt x="1021" y="3700"/>
                      <a:pt x="1006" y="3686"/>
                      <a:pt x="1006" y="3667"/>
                    </a:cubicBezTo>
                    <a:cubicBezTo>
                      <a:pt x="1006" y="3649"/>
                      <a:pt x="1021" y="3634"/>
                      <a:pt x="1040" y="3634"/>
                    </a:cubicBezTo>
                    <a:close/>
                    <a:moveTo>
                      <a:pt x="1173" y="3634"/>
                    </a:moveTo>
                    <a:lnTo>
                      <a:pt x="1173" y="3634"/>
                    </a:lnTo>
                    <a:cubicBezTo>
                      <a:pt x="1191" y="3634"/>
                      <a:pt x="1206" y="3649"/>
                      <a:pt x="1206" y="3667"/>
                    </a:cubicBezTo>
                    <a:cubicBezTo>
                      <a:pt x="1206" y="3686"/>
                      <a:pt x="1191" y="3700"/>
                      <a:pt x="1173" y="3700"/>
                    </a:cubicBezTo>
                    <a:cubicBezTo>
                      <a:pt x="1154" y="3700"/>
                      <a:pt x="1140" y="3686"/>
                      <a:pt x="1140" y="3667"/>
                    </a:cubicBezTo>
                    <a:cubicBezTo>
                      <a:pt x="1140" y="3649"/>
                      <a:pt x="1154" y="3634"/>
                      <a:pt x="1173" y="3634"/>
                    </a:cubicBezTo>
                    <a:close/>
                    <a:moveTo>
                      <a:pt x="1306" y="3634"/>
                    </a:moveTo>
                    <a:lnTo>
                      <a:pt x="1306" y="3634"/>
                    </a:lnTo>
                    <a:cubicBezTo>
                      <a:pt x="1325" y="3634"/>
                      <a:pt x="1340" y="3649"/>
                      <a:pt x="1340" y="3667"/>
                    </a:cubicBezTo>
                    <a:cubicBezTo>
                      <a:pt x="1340" y="3686"/>
                      <a:pt x="1325" y="3700"/>
                      <a:pt x="1306" y="3700"/>
                    </a:cubicBezTo>
                    <a:cubicBezTo>
                      <a:pt x="1288" y="3700"/>
                      <a:pt x="1273" y="3686"/>
                      <a:pt x="1273" y="3667"/>
                    </a:cubicBezTo>
                    <a:cubicBezTo>
                      <a:pt x="1273" y="3649"/>
                      <a:pt x="1288" y="3634"/>
                      <a:pt x="1306" y="3634"/>
                    </a:cubicBezTo>
                    <a:close/>
                    <a:moveTo>
                      <a:pt x="1440" y="3634"/>
                    </a:moveTo>
                    <a:lnTo>
                      <a:pt x="1440" y="3634"/>
                    </a:lnTo>
                    <a:cubicBezTo>
                      <a:pt x="1458" y="3634"/>
                      <a:pt x="1473" y="3649"/>
                      <a:pt x="1473" y="3667"/>
                    </a:cubicBezTo>
                    <a:cubicBezTo>
                      <a:pt x="1473" y="3686"/>
                      <a:pt x="1458" y="3700"/>
                      <a:pt x="1440" y="3700"/>
                    </a:cubicBezTo>
                    <a:cubicBezTo>
                      <a:pt x="1421" y="3700"/>
                      <a:pt x="1406" y="3686"/>
                      <a:pt x="1406" y="3667"/>
                    </a:cubicBezTo>
                    <a:cubicBezTo>
                      <a:pt x="1406" y="3649"/>
                      <a:pt x="1421" y="3634"/>
                      <a:pt x="1440" y="3634"/>
                    </a:cubicBezTo>
                    <a:close/>
                    <a:moveTo>
                      <a:pt x="1573" y="3634"/>
                    </a:moveTo>
                    <a:lnTo>
                      <a:pt x="1573" y="3634"/>
                    </a:lnTo>
                    <a:cubicBezTo>
                      <a:pt x="1592" y="3634"/>
                      <a:pt x="1607" y="3649"/>
                      <a:pt x="1607" y="3667"/>
                    </a:cubicBezTo>
                    <a:cubicBezTo>
                      <a:pt x="1607" y="3686"/>
                      <a:pt x="1592" y="3700"/>
                      <a:pt x="1573" y="3700"/>
                    </a:cubicBezTo>
                    <a:cubicBezTo>
                      <a:pt x="1555" y="3700"/>
                      <a:pt x="1540" y="3686"/>
                      <a:pt x="1540" y="3667"/>
                    </a:cubicBezTo>
                    <a:cubicBezTo>
                      <a:pt x="1540" y="3649"/>
                      <a:pt x="1555" y="3634"/>
                      <a:pt x="1573" y="3634"/>
                    </a:cubicBezTo>
                    <a:close/>
                    <a:moveTo>
                      <a:pt x="1707" y="3634"/>
                    </a:moveTo>
                    <a:lnTo>
                      <a:pt x="1707" y="3634"/>
                    </a:lnTo>
                    <a:cubicBezTo>
                      <a:pt x="1725" y="3634"/>
                      <a:pt x="1740" y="3649"/>
                      <a:pt x="1740" y="3667"/>
                    </a:cubicBezTo>
                    <a:cubicBezTo>
                      <a:pt x="1740" y="3686"/>
                      <a:pt x="1725" y="3700"/>
                      <a:pt x="1707" y="3700"/>
                    </a:cubicBezTo>
                    <a:cubicBezTo>
                      <a:pt x="1688" y="3700"/>
                      <a:pt x="1673" y="3686"/>
                      <a:pt x="1673" y="3667"/>
                    </a:cubicBezTo>
                    <a:cubicBezTo>
                      <a:pt x="1673" y="3649"/>
                      <a:pt x="1688" y="3634"/>
                      <a:pt x="1707" y="3634"/>
                    </a:cubicBezTo>
                    <a:close/>
                    <a:moveTo>
                      <a:pt x="1840" y="3634"/>
                    </a:moveTo>
                    <a:lnTo>
                      <a:pt x="1840" y="3634"/>
                    </a:lnTo>
                    <a:cubicBezTo>
                      <a:pt x="1858" y="3634"/>
                      <a:pt x="1873" y="3649"/>
                      <a:pt x="1873" y="3667"/>
                    </a:cubicBezTo>
                    <a:cubicBezTo>
                      <a:pt x="1873" y="3686"/>
                      <a:pt x="1858" y="3700"/>
                      <a:pt x="1840" y="3700"/>
                    </a:cubicBezTo>
                    <a:cubicBezTo>
                      <a:pt x="1821" y="3700"/>
                      <a:pt x="1807" y="3686"/>
                      <a:pt x="1807" y="3667"/>
                    </a:cubicBezTo>
                    <a:cubicBezTo>
                      <a:pt x="1807" y="3649"/>
                      <a:pt x="1821" y="3634"/>
                      <a:pt x="1840" y="3634"/>
                    </a:cubicBezTo>
                    <a:close/>
                    <a:moveTo>
                      <a:pt x="1973" y="3634"/>
                    </a:moveTo>
                    <a:lnTo>
                      <a:pt x="1973" y="3634"/>
                    </a:lnTo>
                    <a:cubicBezTo>
                      <a:pt x="1992" y="3634"/>
                      <a:pt x="2007" y="3649"/>
                      <a:pt x="2007" y="3667"/>
                    </a:cubicBezTo>
                    <a:cubicBezTo>
                      <a:pt x="2007" y="3686"/>
                      <a:pt x="1992" y="3700"/>
                      <a:pt x="1973" y="3700"/>
                    </a:cubicBezTo>
                    <a:cubicBezTo>
                      <a:pt x="1955" y="3700"/>
                      <a:pt x="1940" y="3686"/>
                      <a:pt x="1940" y="3667"/>
                    </a:cubicBezTo>
                    <a:cubicBezTo>
                      <a:pt x="1940" y="3649"/>
                      <a:pt x="1955" y="3634"/>
                      <a:pt x="1973" y="3634"/>
                    </a:cubicBezTo>
                    <a:close/>
                    <a:moveTo>
                      <a:pt x="2107" y="3634"/>
                    </a:moveTo>
                    <a:lnTo>
                      <a:pt x="2107" y="3634"/>
                    </a:lnTo>
                    <a:cubicBezTo>
                      <a:pt x="2125" y="3634"/>
                      <a:pt x="2140" y="3649"/>
                      <a:pt x="2140" y="3667"/>
                    </a:cubicBezTo>
                    <a:cubicBezTo>
                      <a:pt x="2140" y="3686"/>
                      <a:pt x="2125" y="3700"/>
                      <a:pt x="2107" y="3700"/>
                    </a:cubicBezTo>
                    <a:cubicBezTo>
                      <a:pt x="2088" y="3700"/>
                      <a:pt x="2073" y="3686"/>
                      <a:pt x="2073" y="3667"/>
                    </a:cubicBezTo>
                    <a:cubicBezTo>
                      <a:pt x="2073" y="3649"/>
                      <a:pt x="2088" y="3634"/>
                      <a:pt x="2107" y="3634"/>
                    </a:cubicBezTo>
                    <a:close/>
                    <a:moveTo>
                      <a:pt x="2240" y="3634"/>
                    </a:moveTo>
                    <a:lnTo>
                      <a:pt x="2240" y="3634"/>
                    </a:lnTo>
                    <a:cubicBezTo>
                      <a:pt x="2259" y="3634"/>
                      <a:pt x="2274" y="3649"/>
                      <a:pt x="2274" y="3667"/>
                    </a:cubicBezTo>
                    <a:cubicBezTo>
                      <a:pt x="2274" y="3686"/>
                      <a:pt x="2259" y="3700"/>
                      <a:pt x="2240" y="3700"/>
                    </a:cubicBezTo>
                    <a:cubicBezTo>
                      <a:pt x="2222" y="3700"/>
                      <a:pt x="2207" y="3686"/>
                      <a:pt x="2207" y="3667"/>
                    </a:cubicBezTo>
                    <a:cubicBezTo>
                      <a:pt x="2207" y="3649"/>
                      <a:pt x="2222" y="3634"/>
                      <a:pt x="2240" y="3634"/>
                    </a:cubicBezTo>
                    <a:close/>
                    <a:moveTo>
                      <a:pt x="2374" y="3634"/>
                    </a:moveTo>
                    <a:lnTo>
                      <a:pt x="2374" y="3634"/>
                    </a:lnTo>
                    <a:cubicBezTo>
                      <a:pt x="2392" y="3634"/>
                      <a:pt x="2407" y="3649"/>
                      <a:pt x="2407" y="3667"/>
                    </a:cubicBezTo>
                    <a:cubicBezTo>
                      <a:pt x="2407" y="3686"/>
                      <a:pt x="2392" y="3700"/>
                      <a:pt x="2374" y="3700"/>
                    </a:cubicBezTo>
                    <a:cubicBezTo>
                      <a:pt x="2355" y="3700"/>
                      <a:pt x="2340" y="3686"/>
                      <a:pt x="2340" y="3667"/>
                    </a:cubicBezTo>
                    <a:cubicBezTo>
                      <a:pt x="2340" y="3649"/>
                      <a:pt x="2355" y="3634"/>
                      <a:pt x="2374" y="3634"/>
                    </a:cubicBezTo>
                    <a:close/>
                    <a:moveTo>
                      <a:pt x="2507" y="3634"/>
                    </a:moveTo>
                    <a:lnTo>
                      <a:pt x="2507" y="3634"/>
                    </a:lnTo>
                    <a:cubicBezTo>
                      <a:pt x="2525" y="3634"/>
                      <a:pt x="2540" y="3649"/>
                      <a:pt x="2540" y="3667"/>
                    </a:cubicBezTo>
                    <a:cubicBezTo>
                      <a:pt x="2540" y="3686"/>
                      <a:pt x="2525" y="3700"/>
                      <a:pt x="2507" y="3700"/>
                    </a:cubicBezTo>
                    <a:cubicBezTo>
                      <a:pt x="2488" y="3700"/>
                      <a:pt x="2474" y="3686"/>
                      <a:pt x="2474" y="3667"/>
                    </a:cubicBezTo>
                    <a:cubicBezTo>
                      <a:pt x="2474" y="3649"/>
                      <a:pt x="2488" y="3634"/>
                      <a:pt x="2507" y="3634"/>
                    </a:cubicBezTo>
                    <a:close/>
                    <a:moveTo>
                      <a:pt x="2640" y="3634"/>
                    </a:moveTo>
                    <a:lnTo>
                      <a:pt x="2640" y="3634"/>
                    </a:lnTo>
                    <a:cubicBezTo>
                      <a:pt x="2659" y="3634"/>
                      <a:pt x="2674" y="3649"/>
                      <a:pt x="2674" y="3667"/>
                    </a:cubicBezTo>
                    <a:cubicBezTo>
                      <a:pt x="2674" y="3686"/>
                      <a:pt x="2659" y="3700"/>
                      <a:pt x="2640" y="3700"/>
                    </a:cubicBezTo>
                    <a:cubicBezTo>
                      <a:pt x="2622" y="3700"/>
                      <a:pt x="2607" y="3686"/>
                      <a:pt x="2607" y="3667"/>
                    </a:cubicBezTo>
                    <a:cubicBezTo>
                      <a:pt x="2607" y="3649"/>
                      <a:pt x="2622" y="3634"/>
                      <a:pt x="2640" y="3634"/>
                    </a:cubicBezTo>
                    <a:close/>
                    <a:moveTo>
                      <a:pt x="2774" y="3634"/>
                    </a:moveTo>
                    <a:lnTo>
                      <a:pt x="2774" y="3634"/>
                    </a:lnTo>
                    <a:cubicBezTo>
                      <a:pt x="2792" y="3634"/>
                      <a:pt x="2807" y="3649"/>
                      <a:pt x="2807" y="3667"/>
                    </a:cubicBezTo>
                    <a:cubicBezTo>
                      <a:pt x="2807" y="3686"/>
                      <a:pt x="2792" y="3700"/>
                      <a:pt x="2774" y="3700"/>
                    </a:cubicBezTo>
                    <a:cubicBezTo>
                      <a:pt x="2755" y="3700"/>
                      <a:pt x="2740" y="3686"/>
                      <a:pt x="2740" y="3667"/>
                    </a:cubicBezTo>
                    <a:cubicBezTo>
                      <a:pt x="2740" y="3649"/>
                      <a:pt x="2755" y="3634"/>
                      <a:pt x="2774" y="3634"/>
                    </a:cubicBezTo>
                    <a:close/>
                    <a:moveTo>
                      <a:pt x="2907" y="3634"/>
                    </a:moveTo>
                    <a:lnTo>
                      <a:pt x="2907" y="3634"/>
                    </a:lnTo>
                    <a:cubicBezTo>
                      <a:pt x="2926" y="3634"/>
                      <a:pt x="2940" y="3649"/>
                      <a:pt x="2940" y="3667"/>
                    </a:cubicBezTo>
                    <a:cubicBezTo>
                      <a:pt x="2940" y="3686"/>
                      <a:pt x="2926" y="3700"/>
                      <a:pt x="2907" y="3700"/>
                    </a:cubicBezTo>
                    <a:cubicBezTo>
                      <a:pt x="2889" y="3700"/>
                      <a:pt x="2874" y="3686"/>
                      <a:pt x="2874" y="3667"/>
                    </a:cubicBezTo>
                    <a:cubicBezTo>
                      <a:pt x="2874" y="3649"/>
                      <a:pt x="2889" y="3634"/>
                      <a:pt x="2907" y="3634"/>
                    </a:cubicBezTo>
                    <a:close/>
                    <a:moveTo>
                      <a:pt x="3041" y="3634"/>
                    </a:moveTo>
                    <a:lnTo>
                      <a:pt x="3041" y="3634"/>
                    </a:lnTo>
                    <a:cubicBezTo>
                      <a:pt x="3059" y="3634"/>
                      <a:pt x="3074" y="3649"/>
                      <a:pt x="3074" y="3667"/>
                    </a:cubicBezTo>
                    <a:cubicBezTo>
                      <a:pt x="3074" y="3686"/>
                      <a:pt x="3059" y="3700"/>
                      <a:pt x="3041" y="3700"/>
                    </a:cubicBezTo>
                    <a:cubicBezTo>
                      <a:pt x="3022" y="3700"/>
                      <a:pt x="3007" y="3686"/>
                      <a:pt x="3007" y="3667"/>
                    </a:cubicBezTo>
                    <a:cubicBezTo>
                      <a:pt x="3007" y="3649"/>
                      <a:pt x="3022" y="3634"/>
                      <a:pt x="3041" y="3634"/>
                    </a:cubicBezTo>
                    <a:close/>
                    <a:moveTo>
                      <a:pt x="3174" y="3634"/>
                    </a:moveTo>
                    <a:lnTo>
                      <a:pt x="3174" y="3634"/>
                    </a:lnTo>
                    <a:cubicBezTo>
                      <a:pt x="3192" y="3634"/>
                      <a:pt x="3207" y="3649"/>
                      <a:pt x="3207" y="3667"/>
                    </a:cubicBezTo>
                    <a:cubicBezTo>
                      <a:pt x="3207" y="3686"/>
                      <a:pt x="3192" y="3700"/>
                      <a:pt x="3174" y="3700"/>
                    </a:cubicBezTo>
                    <a:cubicBezTo>
                      <a:pt x="3155" y="3700"/>
                      <a:pt x="3141" y="3686"/>
                      <a:pt x="3141" y="3667"/>
                    </a:cubicBezTo>
                    <a:cubicBezTo>
                      <a:pt x="3141" y="3649"/>
                      <a:pt x="3155" y="3634"/>
                      <a:pt x="3174" y="3634"/>
                    </a:cubicBezTo>
                    <a:close/>
                    <a:moveTo>
                      <a:pt x="3307" y="3634"/>
                    </a:moveTo>
                    <a:lnTo>
                      <a:pt x="3307" y="3634"/>
                    </a:lnTo>
                    <a:cubicBezTo>
                      <a:pt x="3326" y="3634"/>
                      <a:pt x="3341" y="3649"/>
                      <a:pt x="3341" y="3667"/>
                    </a:cubicBezTo>
                    <a:cubicBezTo>
                      <a:pt x="3341" y="3686"/>
                      <a:pt x="3326" y="3700"/>
                      <a:pt x="3307" y="3700"/>
                    </a:cubicBezTo>
                    <a:cubicBezTo>
                      <a:pt x="3289" y="3700"/>
                      <a:pt x="3274" y="3686"/>
                      <a:pt x="3274" y="3667"/>
                    </a:cubicBezTo>
                    <a:cubicBezTo>
                      <a:pt x="3274" y="3649"/>
                      <a:pt x="3289" y="3634"/>
                      <a:pt x="3307" y="3634"/>
                    </a:cubicBezTo>
                    <a:close/>
                    <a:moveTo>
                      <a:pt x="3441" y="3634"/>
                    </a:moveTo>
                    <a:lnTo>
                      <a:pt x="3441" y="3634"/>
                    </a:lnTo>
                    <a:cubicBezTo>
                      <a:pt x="3459" y="3634"/>
                      <a:pt x="3474" y="3649"/>
                      <a:pt x="3474" y="3667"/>
                    </a:cubicBezTo>
                    <a:cubicBezTo>
                      <a:pt x="3474" y="3686"/>
                      <a:pt x="3459" y="3700"/>
                      <a:pt x="3441" y="3700"/>
                    </a:cubicBezTo>
                    <a:cubicBezTo>
                      <a:pt x="3422" y="3700"/>
                      <a:pt x="3407" y="3686"/>
                      <a:pt x="3407" y="3667"/>
                    </a:cubicBezTo>
                    <a:cubicBezTo>
                      <a:pt x="3407" y="3649"/>
                      <a:pt x="3422" y="3634"/>
                      <a:pt x="3441" y="3634"/>
                    </a:cubicBezTo>
                    <a:close/>
                    <a:moveTo>
                      <a:pt x="3574" y="3634"/>
                    </a:moveTo>
                    <a:lnTo>
                      <a:pt x="3574" y="3634"/>
                    </a:lnTo>
                    <a:cubicBezTo>
                      <a:pt x="3593" y="3634"/>
                      <a:pt x="3608" y="3649"/>
                      <a:pt x="3608" y="3667"/>
                    </a:cubicBezTo>
                    <a:cubicBezTo>
                      <a:pt x="3608" y="3686"/>
                      <a:pt x="3593" y="3700"/>
                      <a:pt x="3574" y="3700"/>
                    </a:cubicBezTo>
                    <a:cubicBezTo>
                      <a:pt x="3556" y="3700"/>
                      <a:pt x="3541" y="3686"/>
                      <a:pt x="3541" y="3667"/>
                    </a:cubicBezTo>
                    <a:cubicBezTo>
                      <a:pt x="3541" y="3649"/>
                      <a:pt x="3556" y="3634"/>
                      <a:pt x="3574" y="3634"/>
                    </a:cubicBezTo>
                    <a:close/>
                    <a:moveTo>
                      <a:pt x="3708" y="3634"/>
                    </a:moveTo>
                    <a:lnTo>
                      <a:pt x="3708" y="3634"/>
                    </a:lnTo>
                    <a:cubicBezTo>
                      <a:pt x="3726" y="3634"/>
                      <a:pt x="3741" y="3649"/>
                      <a:pt x="3741" y="3667"/>
                    </a:cubicBezTo>
                    <a:cubicBezTo>
                      <a:pt x="3741" y="3686"/>
                      <a:pt x="3726" y="3700"/>
                      <a:pt x="3708" y="3700"/>
                    </a:cubicBezTo>
                    <a:cubicBezTo>
                      <a:pt x="3689" y="3700"/>
                      <a:pt x="3674" y="3686"/>
                      <a:pt x="3674" y="3667"/>
                    </a:cubicBezTo>
                    <a:cubicBezTo>
                      <a:pt x="3674" y="3649"/>
                      <a:pt x="3689" y="3634"/>
                      <a:pt x="3708" y="3634"/>
                    </a:cubicBezTo>
                    <a:close/>
                    <a:moveTo>
                      <a:pt x="3841" y="3634"/>
                    </a:moveTo>
                    <a:lnTo>
                      <a:pt x="3841" y="3634"/>
                    </a:lnTo>
                    <a:cubicBezTo>
                      <a:pt x="3859" y="3634"/>
                      <a:pt x="3874" y="3649"/>
                      <a:pt x="3874" y="3667"/>
                    </a:cubicBezTo>
                    <a:cubicBezTo>
                      <a:pt x="3874" y="3686"/>
                      <a:pt x="3859" y="3700"/>
                      <a:pt x="3841" y="3700"/>
                    </a:cubicBezTo>
                    <a:cubicBezTo>
                      <a:pt x="3822" y="3700"/>
                      <a:pt x="3808" y="3686"/>
                      <a:pt x="3808" y="3667"/>
                    </a:cubicBezTo>
                    <a:cubicBezTo>
                      <a:pt x="3808" y="3649"/>
                      <a:pt x="3822" y="3634"/>
                      <a:pt x="3841" y="3634"/>
                    </a:cubicBezTo>
                    <a:close/>
                    <a:moveTo>
                      <a:pt x="3974" y="3634"/>
                    </a:moveTo>
                    <a:lnTo>
                      <a:pt x="3974" y="3634"/>
                    </a:lnTo>
                    <a:cubicBezTo>
                      <a:pt x="3993" y="3634"/>
                      <a:pt x="4008" y="3649"/>
                      <a:pt x="4008" y="3667"/>
                    </a:cubicBezTo>
                    <a:cubicBezTo>
                      <a:pt x="4008" y="3686"/>
                      <a:pt x="3993" y="3700"/>
                      <a:pt x="3974" y="3700"/>
                    </a:cubicBezTo>
                    <a:cubicBezTo>
                      <a:pt x="3956" y="3700"/>
                      <a:pt x="3941" y="3686"/>
                      <a:pt x="3941" y="3667"/>
                    </a:cubicBezTo>
                    <a:cubicBezTo>
                      <a:pt x="3941" y="3649"/>
                      <a:pt x="3956" y="3634"/>
                      <a:pt x="3974" y="3634"/>
                    </a:cubicBezTo>
                    <a:close/>
                    <a:moveTo>
                      <a:pt x="4108" y="3634"/>
                    </a:moveTo>
                    <a:lnTo>
                      <a:pt x="4108" y="3634"/>
                    </a:lnTo>
                    <a:cubicBezTo>
                      <a:pt x="4126" y="3634"/>
                      <a:pt x="4141" y="3649"/>
                      <a:pt x="4141" y="3667"/>
                    </a:cubicBezTo>
                    <a:cubicBezTo>
                      <a:pt x="4141" y="3686"/>
                      <a:pt x="4126" y="3700"/>
                      <a:pt x="4108" y="3700"/>
                    </a:cubicBezTo>
                    <a:cubicBezTo>
                      <a:pt x="4089" y="3700"/>
                      <a:pt x="4074" y="3686"/>
                      <a:pt x="4074" y="3667"/>
                    </a:cubicBezTo>
                    <a:cubicBezTo>
                      <a:pt x="4074" y="3649"/>
                      <a:pt x="4089" y="3634"/>
                      <a:pt x="4108" y="3634"/>
                    </a:cubicBezTo>
                    <a:close/>
                    <a:moveTo>
                      <a:pt x="4241" y="3634"/>
                    </a:moveTo>
                    <a:lnTo>
                      <a:pt x="4241" y="3634"/>
                    </a:lnTo>
                    <a:cubicBezTo>
                      <a:pt x="4260" y="3634"/>
                      <a:pt x="4275" y="3649"/>
                      <a:pt x="4275" y="3667"/>
                    </a:cubicBezTo>
                    <a:cubicBezTo>
                      <a:pt x="4275" y="3686"/>
                      <a:pt x="4260" y="3700"/>
                      <a:pt x="4241" y="3700"/>
                    </a:cubicBezTo>
                    <a:cubicBezTo>
                      <a:pt x="4223" y="3700"/>
                      <a:pt x="4208" y="3686"/>
                      <a:pt x="4208" y="3667"/>
                    </a:cubicBezTo>
                    <a:cubicBezTo>
                      <a:pt x="4208" y="3649"/>
                      <a:pt x="4223" y="3634"/>
                      <a:pt x="4241" y="3634"/>
                    </a:cubicBezTo>
                    <a:close/>
                    <a:moveTo>
                      <a:pt x="4375" y="3634"/>
                    </a:moveTo>
                    <a:lnTo>
                      <a:pt x="4375" y="3634"/>
                    </a:lnTo>
                    <a:cubicBezTo>
                      <a:pt x="4393" y="3634"/>
                      <a:pt x="4408" y="3649"/>
                      <a:pt x="4408" y="3667"/>
                    </a:cubicBezTo>
                    <a:cubicBezTo>
                      <a:pt x="4408" y="3686"/>
                      <a:pt x="4393" y="3700"/>
                      <a:pt x="4375" y="3700"/>
                    </a:cubicBezTo>
                    <a:cubicBezTo>
                      <a:pt x="4356" y="3700"/>
                      <a:pt x="4341" y="3686"/>
                      <a:pt x="4341" y="3667"/>
                    </a:cubicBezTo>
                    <a:cubicBezTo>
                      <a:pt x="4341" y="3649"/>
                      <a:pt x="4356" y="3634"/>
                      <a:pt x="4375" y="3634"/>
                    </a:cubicBezTo>
                    <a:close/>
                    <a:moveTo>
                      <a:pt x="4508" y="3634"/>
                    </a:moveTo>
                    <a:lnTo>
                      <a:pt x="4508" y="3634"/>
                    </a:lnTo>
                    <a:cubicBezTo>
                      <a:pt x="4526" y="3634"/>
                      <a:pt x="4541" y="3649"/>
                      <a:pt x="4541" y="3667"/>
                    </a:cubicBezTo>
                    <a:cubicBezTo>
                      <a:pt x="4541" y="3686"/>
                      <a:pt x="4526" y="3700"/>
                      <a:pt x="4508" y="3700"/>
                    </a:cubicBezTo>
                    <a:cubicBezTo>
                      <a:pt x="4489" y="3700"/>
                      <a:pt x="4475" y="3686"/>
                      <a:pt x="4475" y="3667"/>
                    </a:cubicBezTo>
                    <a:cubicBezTo>
                      <a:pt x="4475" y="3649"/>
                      <a:pt x="4489" y="3634"/>
                      <a:pt x="4508" y="3634"/>
                    </a:cubicBezTo>
                    <a:close/>
                    <a:moveTo>
                      <a:pt x="4641" y="3634"/>
                    </a:moveTo>
                    <a:lnTo>
                      <a:pt x="4641" y="3634"/>
                    </a:lnTo>
                    <a:cubicBezTo>
                      <a:pt x="4660" y="3634"/>
                      <a:pt x="4675" y="3649"/>
                      <a:pt x="4675" y="3667"/>
                    </a:cubicBezTo>
                    <a:cubicBezTo>
                      <a:pt x="4675" y="3686"/>
                      <a:pt x="4660" y="3700"/>
                      <a:pt x="4641" y="3700"/>
                    </a:cubicBezTo>
                    <a:cubicBezTo>
                      <a:pt x="4623" y="3700"/>
                      <a:pt x="4608" y="3686"/>
                      <a:pt x="4608" y="3667"/>
                    </a:cubicBezTo>
                    <a:cubicBezTo>
                      <a:pt x="4608" y="3649"/>
                      <a:pt x="4623" y="3634"/>
                      <a:pt x="4641" y="3634"/>
                    </a:cubicBezTo>
                    <a:close/>
                    <a:moveTo>
                      <a:pt x="4775" y="3634"/>
                    </a:moveTo>
                    <a:lnTo>
                      <a:pt x="4775" y="3634"/>
                    </a:lnTo>
                    <a:cubicBezTo>
                      <a:pt x="4793" y="3634"/>
                      <a:pt x="4808" y="3649"/>
                      <a:pt x="4808" y="3667"/>
                    </a:cubicBezTo>
                    <a:cubicBezTo>
                      <a:pt x="4808" y="3686"/>
                      <a:pt x="4793" y="3700"/>
                      <a:pt x="4775" y="3700"/>
                    </a:cubicBezTo>
                    <a:cubicBezTo>
                      <a:pt x="4756" y="3700"/>
                      <a:pt x="4741" y="3686"/>
                      <a:pt x="4741" y="3667"/>
                    </a:cubicBezTo>
                    <a:cubicBezTo>
                      <a:pt x="4741" y="3649"/>
                      <a:pt x="4756" y="3634"/>
                      <a:pt x="4775" y="3634"/>
                    </a:cubicBezTo>
                    <a:close/>
                    <a:moveTo>
                      <a:pt x="4908" y="3634"/>
                    </a:moveTo>
                    <a:lnTo>
                      <a:pt x="4908" y="3634"/>
                    </a:lnTo>
                    <a:cubicBezTo>
                      <a:pt x="4927" y="3634"/>
                      <a:pt x="4942" y="3649"/>
                      <a:pt x="4942" y="3667"/>
                    </a:cubicBezTo>
                    <a:cubicBezTo>
                      <a:pt x="4942" y="3686"/>
                      <a:pt x="4927" y="3700"/>
                      <a:pt x="4908" y="3700"/>
                    </a:cubicBezTo>
                    <a:cubicBezTo>
                      <a:pt x="4890" y="3700"/>
                      <a:pt x="4875" y="3686"/>
                      <a:pt x="4875" y="3667"/>
                    </a:cubicBezTo>
                    <a:cubicBezTo>
                      <a:pt x="4875" y="3649"/>
                      <a:pt x="4890" y="3634"/>
                      <a:pt x="4908" y="3634"/>
                    </a:cubicBezTo>
                    <a:close/>
                    <a:moveTo>
                      <a:pt x="5042" y="3634"/>
                    </a:moveTo>
                    <a:lnTo>
                      <a:pt x="5042" y="3634"/>
                    </a:lnTo>
                    <a:cubicBezTo>
                      <a:pt x="5060" y="3634"/>
                      <a:pt x="5075" y="3649"/>
                      <a:pt x="5075" y="3667"/>
                    </a:cubicBezTo>
                    <a:cubicBezTo>
                      <a:pt x="5075" y="3686"/>
                      <a:pt x="5060" y="3700"/>
                      <a:pt x="5042" y="3700"/>
                    </a:cubicBezTo>
                    <a:cubicBezTo>
                      <a:pt x="5023" y="3700"/>
                      <a:pt x="5008" y="3686"/>
                      <a:pt x="5008" y="3667"/>
                    </a:cubicBezTo>
                    <a:cubicBezTo>
                      <a:pt x="5008" y="3649"/>
                      <a:pt x="5023" y="3634"/>
                      <a:pt x="5042" y="3634"/>
                    </a:cubicBezTo>
                    <a:close/>
                    <a:moveTo>
                      <a:pt x="5175" y="3634"/>
                    </a:moveTo>
                    <a:lnTo>
                      <a:pt x="5175" y="3634"/>
                    </a:lnTo>
                    <a:cubicBezTo>
                      <a:pt x="5193" y="3634"/>
                      <a:pt x="5208" y="3649"/>
                      <a:pt x="5208" y="3667"/>
                    </a:cubicBezTo>
                    <a:cubicBezTo>
                      <a:pt x="5208" y="3686"/>
                      <a:pt x="5193" y="3700"/>
                      <a:pt x="5175" y="3700"/>
                    </a:cubicBezTo>
                    <a:cubicBezTo>
                      <a:pt x="5157" y="3700"/>
                      <a:pt x="5142" y="3686"/>
                      <a:pt x="5142" y="3667"/>
                    </a:cubicBezTo>
                    <a:cubicBezTo>
                      <a:pt x="5142" y="3649"/>
                      <a:pt x="5157" y="3634"/>
                      <a:pt x="5175" y="3634"/>
                    </a:cubicBezTo>
                    <a:close/>
                    <a:moveTo>
                      <a:pt x="5308" y="3634"/>
                    </a:moveTo>
                    <a:lnTo>
                      <a:pt x="5308" y="3634"/>
                    </a:lnTo>
                    <a:cubicBezTo>
                      <a:pt x="5327" y="3634"/>
                      <a:pt x="5342" y="3649"/>
                      <a:pt x="5342" y="3667"/>
                    </a:cubicBezTo>
                    <a:cubicBezTo>
                      <a:pt x="5342" y="3686"/>
                      <a:pt x="5327" y="3700"/>
                      <a:pt x="5308" y="3700"/>
                    </a:cubicBezTo>
                    <a:cubicBezTo>
                      <a:pt x="5290" y="3700"/>
                      <a:pt x="5275" y="3686"/>
                      <a:pt x="5275" y="3667"/>
                    </a:cubicBezTo>
                    <a:cubicBezTo>
                      <a:pt x="5275" y="3649"/>
                      <a:pt x="5290" y="3634"/>
                      <a:pt x="5308" y="3634"/>
                    </a:cubicBezTo>
                    <a:close/>
                    <a:moveTo>
                      <a:pt x="5297" y="3556"/>
                    </a:moveTo>
                    <a:lnTo>
                      <a:pt x="5297" y="3556"/>
                    </a:lnTo>
                    <a:cubicBezTo>
                      <a:pt x="5297" y="3537"/>
                      <a:pt x="5312" y="3523"/>
                      <a:pt x="5330" y="3523"/>
                    </a:cubicBezTo>
                    <a:cubicBezTo>
                      <a:pt x="5349" y="3523"/>
                      <a:pt x="5364" y="3537"/>
                      <a:pt x="5364" y="3556"/>
                    </a:cubicBezTo>
                    <a:cubicBezTo>
                      <a:pt x="5364" y="3574"/>
                      <a:pt x="5349" y="3589"/>
                      <a:pt x="5330" y="3589"/>
                    </a:cubicBezTo>
                    <a:cubicBezTo>
                      <a:pt x="5312" y="3589"/>
                      <a:pt x="5297" y="3574"/>
                      <a:pt x="5297" y="3556"/>
                    </a:cubicBezTo>
                    <a:close/>
                    <a:moveTo>
                      <a:pt x="5297" y="3423"/>
                    </a:moveTo>
                    <a:lnTo>
                      <a:pt x="5297" y="3422"/>
                    </a:lnTo>
                    <a:cubicBezTo>
                      <a:pt x="5297" y="3404"/>
                      <a:pt x="5312" y="3389"/>
                      <a:pt x="5330" y="3389"/>
                    </a:cubicBezTo>
                    <a:cubicBezTo>
                      <a:pt x="5349" y="3389"/>
                      <a:pt x="5364" y="3404"/>
                      <a:pt x="5364" y="3422"/>
                    </a:cubicBezTo>
                    <a:lnTo>
                      <a:pt x="5364" y="3423"/>
                    </a:lnTo>
                    <a:cubicBezTo>
                      <a:pt x="5364" y="3441"/>
                      <a:pt x="5349" y="3456"/>
                      <a:pt x="5330" y="3456"/>
                    </a:cubicBezTo>
                    <a:cubicBezTo>
                      <a:pt x="5312" y="3456"/>
                      <a:pt x="5297" y="3441"/>
                      <a:pt x="5297" y="3423"/>
                    </a:cubicBezTo>
                    <a:close/>
                    <a:moveTo>
                      <a:pt x="5297" y="3289"/>
                    </a:moveTo>
                    <a:lnTo>
                      <a:pt x="5297" y="3289"/>
                    </a:lnTo>
                    <a:cubicBezTo>
                      <a:pt x="5297" y="3271"/>
                      <a:pt x="5312" y="3256"/>
                      <a:pt x="5330" y="3256"/>
                    </a:cubicBezTo>
                    <a:cubicBezTo>
                      <a:pt x="5349" y="3256"/>
                      <a:pt x="5364" y="3271"/>
                      <a:pt x="5364" y="3289"/>
                    </a:cubicBezTo>
                    <a:cubicBezTo>
                      <a:pt x="5364" y="3308"/>
                      <a:pt x="5349" y="3322"/>
                      <a:pt x="5330" y="3322"/>
                    </a:cubicBezTo>
                    <a:cubicBezTo>
                      <a:pt x="5312" y="3322"/>
                      <a:pt x="5297" y="3308"/>
                      <a:pt x="5297" y="3289"/>
                    </a:cubicBezTo>
                    <a:close/>
                    <a:moveTo>
                      <a:pt x="5297" y="3156"/>
                    </a:moveTo>
                    <a:lnTo>
                      <a:pt x="5297" y="3156"/>
                    </a:lnTo>
                    <a:cubicBezTo>
                      <a:pt x="5297" y="3137"/>
                      <a:pt x="5312" y="3122"/>
                      <a:pt x="5330" y="3122"/>
                    </a:cubicBezTo>
                    <a:cubicBezTo>
                      <a:pt x="5349" y="3122"/>
                      <a:pt x="5364" y="3137"/>
                      <a:pt x="5364" y="3156"/>
                    </a:cubicBezTo>
                    <a:cubicBezTo>
                      <a:pt x="5364" y="3174"/>
                      <a:pt x="5349" y="3189"/>
                      <a:pt x="5330" y="3189"/>
                    </a:cubicBezTo>
                    <a:cubicBezTo>
                      <a:pt x="5312" y="3189"/>
                      <a:pt x="5297" y="3174"/>
                      <a:pt x="5297" y="3156"/>
                    </a:cubicBezTo>
                    <a:close/>
                    <a:moveTo>
                      <a:pt x="5297" y="3022"/>
                    </a:moveTo>
                    <a:lnTo>
                      <a:pt x="5297" y="3022"/>
                    </a:lnTo>
                    <a:cubicBezTo>
                      <a:pt x="5297" y="3004"/>
                      <a:pt x="5312" y="2989"/>
                      <a:pt x="5330" y="2989"/>
                    </a:cubicBezTo>
                    <a:cubicBezTo>
                      <a:pt x="5349" y="2989"/>
                      <a:pt x="5364" y="3004"/>
                      <a:pt x="5364" y="3022"/>
                    </a:cubicBezTo>
                    <a:cubicBezTo>
                      <a:pt x="5364" y="3041"/>
                      <a:pt x="5349" y="3056"/>
                      <a:pt x="5330" y="3056"/>
                    </a:cubicBezTo>
                    <a:cubicBezTo>
                      <a:pt x="5312" y="3056"/>
                      <a:pt x="5297" y="3041"/>
                      <a:pt x="5297" y="3022"/>
                    </a:cubicBezTo>
                    <a:close/>
                    <a:moveTo>
                      <a:pt x="5297" y="2889"/>
                    </a:moveTo>
                    <a:lnTo>
                      <a:pt x="5297" y="2889"/>
                    </a:lnTo>
                    <a:cubicBezTo>
                      <a:pt x="5297" y="2870"/>
                      <a:pt x="5312" y="2856"/>
                      <a:pt x="5330" y="2856"/>
                    </a:cubicBezTo>
                    <a:cubicBezTo>
                      <a:pt x="5349" y="2856"/>
                      <a:pt x="5364" y="2870"/>
                      <a:pt x="5364" y="2889"/>
                    </a:cubicBezTo>
                    <a:cubicBezTo>
                      <a:pt x="5364" y="2907"/>
                      <a:pt x="5349" y="2922"/>
                      <a:pt x="5330" y="2922"/>
                    </a:cubicBezTo>
                    <a:cubicBezTo>
                      <a:pt x="5312" y="2922"/>
                      <a:pt x="5297" y="2907"/>
                      <a:pt x="5297" y="2889"/>
                    </a:cubicBezTo>
                    <a:close/>
                    <a:moveTo>
                      <a:pt x="5297" y="2756"/>
                    </a:moveTo>
                    <a:lnTo>
                      <a:pt x="5297" y="2755"/>
                    </a:lnTo>
                    <a:cubicBezTo>
                      <a:pt x="5297" y="2737"/>
                      <a:pt x="5312" y="2722"/>
                      <a:pt x="5330" y="2722"/>
                    </a:cubicBezTo>
                    <a:cubicBezTo>
                      <a:pt x="5349" y="2722"/>
                      <a:pt x="5364" y="2737"/>
                      <a:pt x="5364" y="2755"/>
                    </a:cubicBezTo>
                    <a:lnTo>
                      <a:pt x="5364" y="2756"/>
                    </a:lnTo>
                    <a:cubicBezTo>
                      <a:pt x="5364" y="2774"/>
                      <a:pt x="5349" y="2789"/>
                      <a:pt x="5330" y="2789"/>
                    </a:cubicBezTo>
                    <a:cubicBezTo>
                      <a:pt x="5312" y="2789"/>
                      <a:pt x="5297" y="2774"/>
                      <a:pt x="5297" y="2756"/>
                    </a:cubicBezTo>
                    <a:close/>
                    <a:moveTo>
                      <a:pt x="5297" y="2622"/>
                    </a:moveTo>
                    <a:lnTo>
                      <a:pt x="5297" y="2622"/>
                    </a:lnTo>
                    <a:cubicBezTo>
                      <a:pt x="5297" y="2604"/>
                      <a:pt x="5312" y="2589"/>
                      <a:pt x="5330" y="2589"/>
                    </a:cubicBezTo>
                    <a:cubicBezTo>
                      <a:pt x="5349" y="2589"/>
                      <a:pt x="5364" y="2604"/>
                      <a:pt x="5364" y="2622"/>
                    </a:cubicBezTo>
                    <a:cubicBezTo>
                      <a:pt x="5364" y="2641"/>
                      <a:pt x="5349" y="2655"/>
                      <a:pt x="5330" y="2655"/>
                    </a:cubicBezTo>
                    <a:cubicBezTo>
                      <a:pt x="5312" y="2655"/>
                      <a:pt x="5297" y="2641"/>
                      <a:pt x="5297" y="2622"/>
                    </a:cubicBezTo>
                    <a:close/>
                    <a:moveTo>
                      <a:pt x="5297" y="2489"/>
                    </a:moveTo>
                    <a:lnTo>
                      <a:pt x="5297" y="2489"/>
                    </a:lnTo>
                    <a:cubicBezTo>
                      <a:pt x="5297" y="2470"/>
                      <a:pt x="5312" y="2455"/>
                      <a:pt x="5330" y="2455"/>
                    </a:cubicBezTo>
                    <a:cubicBezTo>
                      <a:pt x="5349" y="2455"/>
                      <a:pt x="5364" y="2470"/>
                      <a:pt x="5364" y="2489"/>
                    </a:cubicBezTo>
                    <a:cubicBezTo>
                      <a:pt x="5364" y="2507"/>
                      <a:pt x="5349" y="2522"/>
                      <a:pt x="5330" y="2522"/>
                    </a:cubicBezTo>
                    <a:cubicBezTo>
                      <a:pt x="5312" y="2522"/>
                      <a:pt x="5297" y="2507"/>
                      <a:pt x="5297" y="2489"/>
                    </a:cubicBezTo>
                    <a:close/>
                    <a:moveTo>
                      <a:pt x="5297" y="2355"/>
                    </a:moveTo>
                    <a:lnTo>
                      <a:pt x="5297" y="2355"/>
                    </a:lnTo>
                    <a:cubicBezTo>
                      <a:pt x="5297" y="2337"/>
                      <a:pt x="5312" y="2322"/>
                      <a:pt x="5330" y="2322"/>
                    </a:cubicBezTo>
                    <a:cubicBezTo>
                      <a:pt x="5349" y="2322"/>
                      <a:pt x="5364" y="2337"/>
                      <a:pt x="5364" y="2355"/>
                    </a:cubicBezTo>
                    <a:cubicBezTo>
                      <a:pt x="5364" y="2374"/>
                      <a:pt x="5349" y="2389"/>
                      <a:pt x="5330" y="2389"/>
                    </a:cubicBezTo>
                    <a:cubicBezTo>
                      <a:pt x="5312" y="2389"/>
                      <a:pt x="5297" y="2374"/>
                      <a:pt x="5297" y="2355"/>
                    </a:cubicBezTo>
                    <a:close/>
                    <a:moveTo>
                      <a:pt x="5297" y="2222"/>
                    </a:moveTo>
                    <a:lnTo>
                      <a:pt x="5297" y="2222"/>
                    </a:lnTo>
                    <a:cubicBezTo>
                      <a:pt x="5297" y="2203"/>
                      <a:pt x="5312" y="2189"/>
                      <a:pt x="5330" y="2189"/>
                    </a:cubicBezTo>
                    <a:cubicBezTo>
                      <a:pt x="5349" y="2189"/>
                      <a:pt x="5364" y="2203"/>
                      <a:pt x="5364" y="2222"/>
                    </a:cubicBezTo>
                    <a:cubicBezTo>
                      <a:pt x="5364" y="2240"/>
                      <a:pt x="5349" y="2255"/>
                      <a:pt x="5330" y="2255"/>
                    </a:cubicBezTo>
                    <a:cubicBezTo>
                      <a:pt x="5312" y="2255"/>
                      <a:pt x="5297" y="2240"/>
                      <a:pt x="5297" y="2222"/>
                    </a:cubicBezTo>
                    <a:close/>
                    <a:moveTo>
                      <a:pt x="5297" y="2089"/>
                    </a:moveTo>
                    <a:lnTo>
                      <a:pt x="5297" y="2088"/>
                    </a:lnTo>
                    <a:cubicBezTo>
                      <a:pt x="5297" y="2070"/>
                      <a:pt x="5312" y="2055"/>
                      <a:pt x="5330" y="2055"/>
                    </a:cubicBezTo>
                    <a:cubicBezTo>
                      <a:pt x="5349" y="2055"/>
                      <a:pt x="5364" y="2070"/>
                      <a:pt x="5364" y="2088"/>
                    </a:cubicBezTo>
                    <a:lnTo>
                      <a:pt x="5364" y="2089"/>
                    </a:lnTo>
                    <a:cubicBezTo>
                      <a:pt x="5364" y="2107"/>
                      <a:pt x="5349" y="2122"/>
                      <a:pt x="5330" y="2122"/>
                    </a:cubicBezTo>
                    <a:cubicBezTo>
                      <a:pt x="5312" y="2122"/>
                      <a:pt x="5297" y="2107"/>
                      <a:pt x="5297" y="2089"/>
                    </a:cubicBezTo>
                    <a:close/>
                    <a:moveTo>
                      <a:pt x="5297" y="1955"/>
                    </a:moveTo>
                    <a:lnTo>
                      <a:pt x="5297" y="1955"/>
                    </a:lnTo>
                    <a:cubicBezTo>
                      <a:pt x="5297" y="1937"/>
                      <a:pt x="5312" y="1922"/>
                      <a:pt x="5330" y="1922"/>
                    </a:cubicBezTo>
                    <a:cubicBezTo>
                      <a:pt x="5349" y="1922"/>
                      <a:pt x="5364" y="1937"/>
                      <a:pt x="5364" y="1955"/>
                    </a:cubicBezTo>
                    <a:cubicBezTo>
                      <a:pt x="5364" y="1974"/>
                      <a:pt x="5349" y="1988"/>
                      <a:pt x="5330" y="1988"/>
                    </a:cubicBezTo>
                    <a:cubicBezTo>
                      <a:pt x="5312" y="1988"/>
                      <a:pt x="5297" y="1974"/>
                      <a:pt x="5297" y="1955"/>
                    </a:cubicBezTo>
                    <a:close/>
                    <a:moveTo>
                      <a:pt x="5297" y="1822"/>
                    </a:moveTo>
                    <a:lnTo>
                      <a:pt x="5297" y="1822"/>
                    </a:lnTo>
                    <a:cubicBezTo>
                      <a:pt x="5297" y="1803"/>
                      <a:pt x="5312" y="1788"/>
                      <a:pt x="5330" y="1788"/>
                    </a:cubicBezTo>
                    <a:cubicBezTo>
                      <a:pt x="5349" y="1788"/>
                      <a:pt x="5364" y="1803"/>
                      <a:pt x="5364" y="1822"/>
                    </a:cubicBezTo>
                    <a:cubicBezTo>
                      <a:pt x="5364" y="1840"/>
                      <a:pt x="5349" y="1855"/>
                      <a:pt x="5330" y="1855"/>
                    </a:cubicBezTo>
                    <a:cubicBezTo>
                      <a:pt x="5312" y="1855"/>
                      <a:pt x="5297" y="1840"/>
                      <a:pt x="5297" y="1822"/>
                    </a:cubicBezTo>
                    <a:close/>
                    <a:moveTo>
                      <a:pt x="5297" y="1688"/>
                    </a:moveTo>
                    <a:lnTo>
                      <a:pt x="5297" y="1688"/>
                    </a:lnTo>
                    <a:cubicBezTo>
                      <a:pt x="5297" y="1670"/>
                      <a:pt x="5312" y="1655"/>
                      <a:pt x="5330" y="1655"/>
                    </a:cubicBezTo>
                    <a:cubicBezTo>
                      <a:pt x="5349" y="1655"/>
                      <a:pt x="5364" y="1670"/>
                      <a:pt x="5364" y="1688"/>
                    </a:cubicBezTo>
                    <a:cubicBezTo>
                      <a:pt x="5364" y="1707"/>
                      <a:pt x="5349" y="1722"/>
                      <a:pt x="5330" y="1722"/>
                    </a:cubicBezTo>
                    <a:cubicBezTo>
                      <a:pt x="5312" y="1722"/>
                      <a:pt x="5297" y="1707"/>
                      <a:pt x="5297" y="1688"/>
                    </a:cubicBezTo>
                    <a:close/>
                    <a:moveTo>
                      <a:pt x="5297" y="1555"/>
                    </a:moveTo>
                    <a:lnTo>
                      <a:pt x="5297" y="1555"/>
                    </a:lnTo>
                    <a:cubicBezTo>
                      <a:pt x="5297" y="1536"/>
                      <a:pt x="5312" y="1522"/>
                      <a:pt x="5330" y="1522"/>
                    </a:cubicBezTo>
                    <a:cubicBezTo>
                      <a:pt x="5349" y="1522"/>
                      <a:pt x="5364" y="1536"/>
                      <a:pt x="5364" y="1555"/>
                    </a:cubicBezTo>
                    <a:cubicBezTo>
                      <a:pt x="5364" y="1573"/>
                      <a:pt x="5349" y="1588"/>
                      <a:pt x="5330" y="1588"/>
                    </a:cubicBezTo>
                    <a:cubicBezTo>
                      <a:pt x="5312" y="1588"/>
                      <a:pt x="5297" y="1573"/>
                      <a:pt x="5297" y="1555"/>
                    </a:cubicBezTo>
                    <a:close/>
                    <a:moveTo>
                      <a:pt x="5297" y="1422"/>
                    </a:moveTo>
                    <a:lnTo>
                      <a:pt x="5297" y="1421"/>
                    </a:lnTo>
                    <a:cubicBezTo>
                      <a:pt x="5297" y="1403"/>
                      <a:pt x="5312" y="1388"/>
                      <a:pt x="5330" y="1388"/>
                    </a:cubicBezTo>
                    <a:cubicBezTo>
                      <a:pt x="5349" y="1388"/>
                      <a:pt x="5364" y="1403"/>
                      <a:pt x="5364" y="1421"/>
                    </a:cubicBezTo>
                    <a:lnTo>
                      <a:pt x="5364" y="1422"/>
                    </a:lnTo>
                    <a:cubicBezTo>
                      <a:pt x="5364" y="1440"/>
                      <a:pt x="5349" y="1455"/>
                      <a:pt x="5330" y="1455"/>
                    </a:cubicBezTo>
                    <a:cubicBezTo>
                      <a:pt x="5312" y="1455"/>
                      <a:pt x="5297" y="1440"/>
                      <a:pt x="5297" y="1422"/>
                    </a:cubicBezTo>
                    <a:close/>
                    <a:moveTo>
                      <a:pt x="5297" y="1288"/>
                    </a:moveTo>
                    <a:lnTo>
                      <a:pt x="5297" y="1288"/>
                    </a:lnTo>
                    <a:cubicBezTo>
                      <a:pt x="5297" y="1270"/>
                      <a:pt x="5312" y="1255"/>
                      <a:pt x="5330" y="1255"/>
                    </a:cubicBezTo>
                    <a:cubicBezTo>
                      <a:pt x="5349" y="1255"/>
                      <a:pt x="5364" y="1270"/>
                      <a:pt x="5364" y="1288"/>
                    </a:cubicBezTo>
                    <a:cubicBezTo>
                      <a:pt x="5364" y="1307"/>
                      <a:pt x="5349" y="1321"/>
                      <a:pt x="5330" y="1321"/>
                    </a:cubicBezTo>
                    <a:cubicBezTo>
                      <a:pt x="5312" y="1321"/>
                      <a:pt x="5297" y="1307"/>
                      <a:pt x="5297" y="1288"/>
                    </a:cubicBezTo>
                    <a:close/>
                    <a:moveTo>
                      <a:pt x="5297" y="1155"/>
                    </a:moveTo>
                    <a:lnTo>
                      <a:pt x="5297" y="1155"/>
                    </a:lnTo>
                    <a:cubicBezTo>
                      <a:pt x="5297" y="1136"/>
                      <a:pt x="5312" y="1121"/>
                      <a:pt x="5330" y="1121"/>
                    </a:cubicBezTo>
                    <a:cubicBezTo>
                      <a:pt x="5349" y="1121"/>
                      <a:pt x="5364" y="1136"/>
                      <a:pt x="5364" y="1155"/>
                    </a:cubicBezTo>
                    <a:cubicBezTo>
                      <a:pt x="5364" y="1173"/>
                      <a:pt x="5349" y="1188"/>
                      <a:pt x="5330" y="1188"/>
                    </a:cubicBezTo>
                    <a:cubicBezTo>
                      <a:pt x="5312" y="1188"/>
                      <a:pt x="5297" y="1173"/>
                      <a:pt x="5297" y="1155"/>
                    </a:cubicBezTo>
                    <a:close/>
                    <a:moveTo>
                      <a:pt x="5297" y="1021"/>
                    </a:moveTo>
                    <a:lnTo>
                      <a:pt x="5297" y="1021"/>
                    </a:lnTo>
                    <a:cubicBezTo>
                      <a:pt x="5297" y="1003"/>
                      <a:pt x="5312" y="988"/>
                      <a:pt x="5330" y="988"/>
                    </a:cubicBezTo>
                    <a:cubicBezTo>
                      <a:pt x="5349" y="988"/>
                      <a:pt x="5364" y="1003"/>
                      <a:pt x="5364" y="1021"/>
                    </a:cubicBezTo>
                    <a:cubicBezTo>
                      <a:pt x="5364" y="1040"/>
                      <a:pt x="5349" y="1055"/>
                      <a:pt x="5330" y="1055"/>
                    </a:cubicBezTo>
                    <a:cubicBezTo>
                      <a:pt x="5312" y="1055"/>
                      <a:pt x="5297" y="1040"/>
                      <a:pt x="5297" y="1021"/>
                    </a:cubicBezTo>
                    <a:close/>
                    <a:moveTo>
                      <a:pt x="5297" y="888"/>
                    </a:moveTo>
                    <a:lnTo>
                      <a:pt x="5297" y="888"/>
                    </a:lnTo>
                    <a:cubicBezTo>
                      <a:pt x="5297" y="869"/>
                      <a:pt x="5312" y="855"/>
                      <a:pt x="5330" y="855"/>
                    </a:cubicBezTo>
                    <a:cubicBezTo>
                      <a:pt x="5349" y="855"/>
                      <a:pt x="5364" y="869"/>
                      <a:pt x="5364" y="888"/>
                    </a:cubicBezTo>
                    <a:cubicBezTo>
                      <a:pt x="5364" y="906"/>
                      <a:pt x="5349" y="921"/>
                      <a:pt x="5330" y="921"/>
                    </a:cubicBezTo>
                    <a:cubicBezTo>
                      <a:pt x="5312" y="921"/>
                      <a:pt x="5297" y="906"/>
                      <a:pt x="5297" y="888"/>
                    </a:cubicBezTo>
                    <a:close/>
                    <a:moveTo>
                      <a:pt x="5297" y="755"/>
                    </a:moveTo>
                    <a:lnTo>
                      <a:pt x="5297" y="754"/>
                    </a:lnTo>
                    <a:cubicBezTo>
                      <a:pt x="5297" y="736"/>
                      <a:pt x="5312" y="721"/>
                      <a:pt x="5330" y="721"/>
                    </a:cubicBezTo>
                    <a:cubicBezTo>
                      <a:pt x="5349" y="721"/>
                      <a:pt x="5364" y="736"/>
                      <a:pt x="5364" y="754"/>
                    </a:cubicBezTo>
                    <a:lnTo>
                      <a:pt x="5364" y="755"/>
                    </a:lnTo>
                    <a:cubicBezTo>
                      <a:pt x="5364" y="773"/>
                      <a:pt x="5349" y="788"/>
                      <a:pt x="5330" y="788"/>
                    </a:cubicBezTo>
                    <a:cubicBezTo>
                      <a:pt x="5312" y="788"/>
                      <a:pt x="5297" y="773"/>
                      <a:pt x="5297" y="755"/>
                    </a:cubicBezTo>
                    <a:close/>
                    <a:moveTo>
                      <a:pt x="5297" y="621"/>
                    </a:moveTo>
                    <a:lnTo>
                      <a:pt x="5297" y="621"/>
                    </a:lnTo>
                    <a:cubicBezTo>
                      <a:pt x="5297" y="603"/>
                      <a:pt x="5312" y="588"/>
                      <a:pt x="5330" y="588"/>
                    </a:cubicBezTo>
                    <a:cubicBezTo>
                      <a:pt x="5349" y="588"/>
                      <a:pt x="5364" y="603"/>
                      <a:pt x="5364" y="621"/>
                    </a:cubicBezTo>
                    <a:cubicBezTo>
                      <a:pt x="5364" y="640"/>
                      <a:pt x="5349" y="654"/>
                      <a:pt x="5330" y="654"/>
                    </a:cubicBezTo>
                    <a:cubicBezTo>
                      <a:pt x="5312" y="654"/>
                      <a:pt x="5297" y="640"/>
                      <a:pt x="5297" y="621"/>
                    </a:cubicBezTo>
                    <a:close/>
                    <a:moveTo>
                      <a:pt x="5297" y="488"/>
                    </a:moveTo>
                    <a:lnTo>
                      <a:pt x="5297" y="488"/>
                    </a:lnTo>
                    <a:cubicBezTo>
                      <a:pt x="5297" y="469"/>
                      <a:pt x="5312" y="454"/>
                      <a:pt x="5330" y="454"/>
                    </a:cubicBezTo>
                    <a:cubicBezTo>
                      <a:pt x="5349" y="454"/>
                      <a:pt x="5364" y="469"/>
                      <a:pt x="5364" y="488"/>
                    </a:cubicBezTo>
                    <a:cubicBezTo>
                      <a:pt x="5364" y="506"/>
                      <a:pt x="5349" y="521"/>
                      <a:pt x="5330" y="521"/>
                    </a:cubicBezTo>
                    <a:cubicBezTo>
                      <a:pt x="5312" y="521"/>
                      <a:pt x="5297" y="506"/>
                      <a:pt x="5297" y="488"/>
                    </a:cubicBezTo>
                    <a:close/>
                    <a:moveTo>
                      <a:pt x="5297" y="354"/>
                    </a:moveTo>
                    <a:lnTo>
                      <a:pt x="5297" y="354"/>
                    </a:lnTo>
                    <a:cubicBezTo>
                      <a:pt x="5297" y="336"/>
                      <a:pt x="5312" y="321"/>
                      <a:pt x="5330" y="321"/>
                    </a:cubicBezTo>
                    <a:cubicBezTo>
                      <a:pt x="5349" y="321"/>
                      <a:pt x="5364" y="336"/>
                      <a:pt x="5364" y="354"/>
                    </a:cubicBezTo>
                    <a:cubicBezTo>
                      <a:pt x="5364" y="373"/>
                      <a:pt x="5349" y="388"/>
                      <a:pt x="5330" y="388"/>
                    </a:cubicBezTo>
                    <a:cubicBezTo>
                      <a:pt x="5312" y="388"/>
                      <a:pt x="5297" y="373"/>
                      <a:pt x="5297" y="354"/>
                    </a:cubicBezTo>
                    <a:close/>
                    <a:moveTo>
                      <a:pt x="5130" y="400"/>
                    </a:moveTo>
                    <a:lnTo>
                      <a:pt x="5330" y="0"/>
                    </a:lnTo>
                    <a:lnTo>
                      <a:pt x="5530" y="400"/>
                    </a:lnTo>
                    <a:lnTo>
                      <a:pt x="5130" y="400"/>
                    </a:lnTo>
                    <a:close/>
                  </a:path>
                </a:pathLst>
              </a:custGeom>
              <a:solidFill>
                <a:srgbClr val="000000"/>
              </a:solidFill>
              <a:ln w="1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294" name="Group 293"/>
              <p:cNvGrpSpPr>
                <a:grpSpLocks/>
              </p:cNvGrpSpPr>
              <p:nvPr/>
            </p:nvGrpSpPr>
            <p:grpSpPr bwMode="auto">
              <a:xfrm>
                <a:off x="1397082" y="2925417"/>
                <a:ext cx="1035237" cy="1529209"/>
                <a:chOff x="1397082" y="2925417"/>
                <a:chExt cx="1035237" cy="1529209"/>
              </a:xfrm>
            </p:grpSpPr>
            <p:sp>
              <p:nvSpPr>
                <p:cNvPr id="295" name="Freeform 294"/>
                <p:cNvSpPr>
                  <a:spLocks noEditPoints="1"/>
                </p:cNvSpPr>
                <p:nvPr/>
              </p:nvSpPr>
              <p:spPr bwMode="auto">
                <a:xfrm>
                  <a:off x="1425109" y="4218150"/>
                  <a:ext cx="767232" cy="84080"/>
                </a:xfrm>
                <a:custGeom>
                  <a:avLst/>
                  <a:gdLst>
                    <a:gd name="T0" fmla="*/ 2147483647 w 3650"/>
                    <a:gd name="T1" fmla="*/ 2147483647 h 400"/>
                    <a:gd name="T2" fmla="*/ 2147483647 w 3650"/>
                    <a:gd name="T3" fmla="*/ 2147483647 h 400"/>
                    <a:gd name="T4" fmla="*/ 2147483647 w 3650"/>
                    <a:gd name="T5" fmla="*/ 2147483647 h 400"/>
                    <a:gd name="T6" fmla="*/ 2147483647 w 3650"/>
                    <a:gd name="T7" fmla="*/ 2147483647 h 400"/>
                    <a:gd name="T8" fmla="*/ 2147483647 w 3650"/>
                    <a:gd name="T9" fmla="*/ 2147483647 h 400"/>
                    <a:gd name="T10" fmla="*/ 0 w 3650"/>
                    <a:gd name="T11" fmla="*/ 2147483647 h 400"/>
                    <a:gd name="T12" fmla="*/ 2147483647 w 3650"/>
                    <a:gd name="T13" fmla="*/ 2147483647 h 400"/>
                    <a:gd name="T14" fmla="*/ 2147483647 w 3650"/>
                    <a:gd name="T15" fmla="*/ 2147483647 h 400"/>
                    <a:gd name="T16" fmla="*/ 2147483647 w 3650"/>
                    <a:gd name="T17" fmla="*/ 2147483647 h 400"/>
                    <a:gd name="T18" fmla="*/ 2147483647 w 3650"/>
                    <a:gd name="T19" fmla="*/ 2147483647 h 400"/>
                    <a:gd name="T20" fmla="*/ 2147483647 w 3650"/>
                    <a:gd name="T21" fmla="*/ 2147483647 h 400"/>
                    <a:gd name="T22" fmla="*/ 2147483647 w 3650"/>
                    <a:gd name="T23" fmla="*/ 2147483647 h 400"/>
                    <a:gd name="T24" fmla="*/ 2147483647 w 3650"/>
                    <a:gd name="T25" fmla="*/ 2147483647 h 400"/>
                    <a:gd name="T26" fmla="*/ 2147483647 w 3650"/>
                    <a:gd name="T27" fmla="*/ 2147483647 h 400"/>
                    <a:gd name="T28" fmla="*/ 2147483647 w 3650"/>
                    <a:gd name="T29" fmla="*/ 2147483647 h 400"/>
                    <a:gd name="T30" fmla="*/ 2147483647 w 3650"/>
                    <a:gd name="T31" fmla="*/ 2147483647 h 400"/>
                    <a:gd name="T32" fmla="*/ 2147483647 w 3650"/>
                    <a:gd name="T33" fmla="*/ 2147483647 h 400"/>
                    <a:gd name="T34" fmla="*/ 2147483647 w 3650"/>
                    <a:gd name="T35" fmla="*/ 2147483647 h 400"/>
                    <a:gd name="T36" fmla="*/ 2147483647 w 3650"/>
                    <a:gd name="T37" fmla="*/ 2147483647 h 400"/>
                    <a:gd name="T38" fmla="*/ 2147483647 w 3650"/>
                    <a:gd name="T39" fmla="*/ 2147483647 h 400"/>
                    <a:gd name="T40" fmla="*/ 2147483647 w 3650"/>
                    <a:gd name="T41" fmla="*/ 2147483647 h 400"/>
                    <a:gd name="T42" fmla="*/ 2147483647 w 3650"/>
                    <a:gd name="T43" fmla="*/ 2147483647 h 400"/>
                    <a:gd name="T44" fmla="*/ 2147483647 w 3650"/>
                    <a:gd name="T45" fmla="*/ 2147483647 h 400"/>
                    <a:gd name="T46" fmla="*/ 2147483647 w 3650"/>
                    <a:gd name="T47" fmla="*/ 2147483647 h 400"/>
                    <a:gd name="T48" fmla="*/ 2147483647 w 3650"/>
                    <a:gd name="T49" fmla="*/ 2147483647 h 400"/>
                    <a:gd name="T50" fmla="*/ 2147483647 w 3650"/>
                    <a:gd name="T51" fmla="*/ 2147483647 h 400"/>
                    <a:gd name="T52" fmla="*/ 2147483647 w 3650"/>
                    <a:gd name="T53" fmla="*/ 2147483647 h 400"/>
                    <a:gd name="T54" fmla="*/ 2147483647 w 3650"/>
                    <a:gd name="T55" fmla="*/ 2147483647 h 400"/>
                    <a:gd name="T56" fmla="*/ 2147483647 w 3650"/>
                    <a:gd name="T57" fmla="*/ 2147483647 h 400"/>
                    <a:gd name="T58" fmla="*/ 2147483647 w 3650"/>
                    <a:gd name="T59" fmla="*/ 2147483647 h 400"/>
                    <a:gd name="T60" fmla="*/ 2147483647 w 3650"/>
                    <a:gd name="T61" fmla="*/ 2147483647 h 400"/>
                    <a:gd name="T62" fmla="*/ 2147483647 w 3650"/>
                    <a:gd name="T63" fmla="*/ 2147483647 h 400"/>
                    <a:gd name="T64" fmla="*/ 2147483647 w 3650"/>
                    <a:gd name="T65" fmla="*/ 2147483647 h 400"/>
                    <a:gd name="T66" fmla="*/ 2147483647 w 3650"/>
                    <a:gd name="T67" fmla="*/ 2147483647 h 400"/>
                    <a:gd name="T68" fmla="*/ 2147483647 w 3650"/>
                    <a:gd name="T69" fmla="*/ 2147483647 h 400"/>
                    <a:gd name="T70" fmla="*/ 2147483647 w 3650"/>
                    <a:gd name="T71" fmla="*/ 2147483647 h 400"/>
                    <a:gd name="T72" fmla="*/ 2147483647 w 3650"/>
                    <a:gd name="T73" fmla="*/ 2147483647 h 400"/>
                    <a:gd name="T74" fmla="*/ 2147483647 w 3650"/>
                    <a:gd name="T75" fmla="*/ 2147483647 h 400"/>
                    <a:gd name="T76" fmla="*/ 2147483647 w 3650"/>
                    <a:gd name="T77" fmla="*/ 2147483647 h 400"/>
                    <a:gd name="T78" fmla="*/ 2147483647 w 3650"/>
                    <a:gd name="T79" fmla="*/ 2147483647 h 400"/>
                    <a:gd name="T80" fmla="*/ 2147483647 w 3650"/>
                    <a:gd name="T81" fmla="*/ 2147483647 h 400"/>
                    <a:gd name="T82" fmla="*/ 2147483647 w 3650"/>
                    <a:gd name="T83" fmla="*/ 2147483647 h 400"/>
                    <a:gd name="T84" fmla="*/ 2147483647 w 3650"/>
                    <a:gd name="T85" fmla="*/ 2147483647 h 400"/>
                    <a:gd name="T86" fmla="*/ 2147483647 w 3650"/>
                    <a:gd name="T87" fmla="*/ 2147483647 h 400"/>
                    <a:gd name="T88" fmla="*/ 2147483647 w 3650"/>
                    <a:gd name="T89" fmla="*/ 2147483647 h 400"/>
                    <a:gd name="T90" fmla="*/ 2147483647 w 3650"/>
                    <a:gd name="T91" fmla="*/ 2147483647 h 400"/>
                    <a:gd name="T92" fmla="*/ 2147483647 w 3650"/>
                    <a:gd name="T93" fmla="*/ 2147483647 h 400"/>
                    <a:gd name="T94" fmla="*/ 2147483647 w 3650"/>
                    <a:gd name="T95" fmla="*/ 2147483647 h 400"/>
                    <a:gd name="T96" fmla="*/ 2147483647 w 3650"/>
                    <a:gd name="T97" fmla="*/ 2147483647 h 400"/>
                    <a:gd name="T98" fmla="*/ 2147483647 w 3650"/>
                    <a:gd name="T99" fmla="*/ 2147483647 h 400"/>
                    <a:gd name="T100" fmla="*/ 2147483647 w 3650"/>
                    <a:gd name="T101" fmla="*/ 2147483647 h 400"/>
                    <a:gd name="T102" fmla="*/ 2147483647 w 3650"/>
                    <a:gd name="T103" fmla="*/ 2147483647 h 400"/>
                    <a:gd name="T104" fmla="*/ 2147483647 w 3650"/>
                    <a:gd name="T105" fmla="*/ 2147483647 h 400"/>
                    <a:gd name="T106" fmla="*/ 2147483647 w 3650"/>
                    <a:gd name="T107" fmla="*/ 2147483647 h 400"/>
                    <a:gd name="T108" fmla="*/ 2147483647 w 3650"/>
                    <a:gd name="T109" fmla="*/ 2147483647 h 400"/>
                    <a:gd name="T110" fmla="*/ 2147483647 w 3650"/>
                    <a:gd name="T111" fmla="*/ 2147483647 h 400"/>
                    <a:gd name="T112" fmla="*/ 2147483647 w 3650"/>
                    <a:gd name="T113" fmla="*/ 0 h 400"/>
                    <a:gd name="T114" fmla="*/ 2147483647 w 3650"/>
                    <a:gd name="T115" fmla="*/ 2147483647 h 400"/>
                    <a:gd name="T116" fmla="*/ 2147483647 w 3650"/>
                    <a:gd name="T117" fmla="*/ 2147483647 h 400"/>
                    <a:gd name="T118" fmla="*/ 2147483647 w 3650"/>
                    <a:gd name="T119" fmla="*/ 0 h 40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3650" h="400">
                      <a:moveTo>
                        <a:pt x="34" y="142"/>
                      </a:moveTo>
                      <a:lnTo>
                        <a:pt x="501" y="146"/>
                      </a:lnTo>
                      <a:cubicBezTo>
                        <a:pt x="519" y="146"/>
                        <a:pt x="534" y="161"/>
                        <a:pt x="534" y="179"/>
                      </a:cubicBezTo>
                      <a:cubicBezTo>
                        <a:pt x="534" y="198"/>
                        <a:pt x="519" y="213"/>
                        <a:pt x="500" y="213"/>
                      </a:cubicBezTo>
                      <a:lnTo>
                        <a:pt x="34" y="209"/>
                      </a:lnTo>
                      <a:cubicBezTo>
                        <a:pt x="15" y="209"/>
                        <a:pt x="0" y="194"/>
                        <a:pt x="0" y="176"/>
                      </a:cubicBezTo>
                      <a:cubicBezTo>
                        <a:pt x="1" y="157"/>
                        <a:pt x="16" y="142"/>
                        <a:pt x="34" y="142"/>
                      </a:cubicBezTo>
                      <a:close/>
                      <a:moveTo>
                        <a:pt x="767" y="148"/>
                      </a:moveTo>
                      <a:lnTo>
                        <a:pt x="767" y="148"/>
                      </a:lnTo>
                      <a:cubicBezTo>
                        <a:pt x="786" y="148"/>
                        <a:pt x="801" y="163"/>
                        <a:pt x="801" y="181"/>
                      </a:cubicBezTo>
                      <a:cubicBezTo>
                        <a:pt x="801" y="200"/>
                        <a:pt x="786" y="215"/>
                        <a:pt x="767" y="215"/>
                      </a:cubicBezTo>
                      <a:cubicBezTo>
                        <a:pt x="749" y="215"/>
                        <a:pt x="734" y="200"/>
                        <a:pt x="734" y="181"/>
                      </a:cubicBezTo>
                      <a:cubicBezTo>
                        <a:pt x="734" y="163"/>
                        <a:pt x="749" y="148"/>
                        <a:pt x="767" y="148"/>
                      </a:cubicBezTo>
                      <a:close/>
                      <a:moveTo>
                        <a:pt x="1034" y="150"/>
                      </a:moveTo>
                      <a:lnTo>
                        <a:pt x="1034" y="150"/>
                      </a:lnTo>
                      <a:cubicBezTo>
                        <a:pt x="1052" y="150"/>
                        <a:pt x="1067" y="165"/>
                        <a:pt x="1067" y="183"/>
                      </a:cubicBezTo>
                      <a:cubicBezTo>
                        <a:pt x="1067" y="202"/>
                        <a:pt x="1052" y="217"/>
                        <a:pt x="1034" y="217"/>
                      </a:cubicBezTo>
                      <a:cubicBezTo>
                        <a:pt x="1015" y="217"/>
                        <a:pt x="1001" y="202"/>
                        <a:pt x="1001" y="183"/>
                      </a:cubicBezTo>
                      <a:cubicBezTo>
                        <a:pt x="1001" y="165"/>
                        <a:pt x="1015" y="150"/>
                        <a:pt x="1034" y="150"/>
                      </a:cubicBezTo>
                      <a:close/>
                      <a:moveTo>
                        <a:pt x="1301" y="152"/>
                      </a:moveTo>
                      <a:lnTo>
                        <a:pt x="1767" y="155"/>
                      </a:lnTo>
                      <a:cubicBezTo>
                        <a:pt x="1786" y="155"/>
                        <a:pt x="1801" y="170"/>
                        <a:pt x="1801" y="189"/>
                      </a:cubicBezTo>
                      <a:cubicBezTo>
                        <a:pt x="1800" y="207"/>
                        <a:pt x="1785" y="222"/>
                        <a:pt x="1767" y="222"/>
                      </a:cubicBezTo>
                      <a:lnTo>
                        <a:pt x="1300" y="218"/>
                      </a:lnTo>
                      <a:cubicBezTo>
                        <a:pt x="1282" y="218"/>
                        <a:pt x="1267" y="203"/>
                        <a:pt x="1267" y="185"/>
                      </a:cubicBezTo>
                      <a:cubicBezTo>
                        <a:pt x="1267" y="166"/>
                        <a:pt x="1282" y="152"/>
                        <a:pt x="1301" y="152"/>
                      </a:cubicBezTo>
                      <a:close/>
                      <a:moveTo>
                        <a:pt x="2034" y="157"/>
                      </a:moveTo>
                      <a:lnTo>
                        <a:pt x="2034" y="157"/>
                      </a:lnTo>
                      <a:cubicBezTo>
                        <a:pt x="2052" y="157"/>
                        <a:pt x="2067" y="172"/>
                        <a:pt x="2067" y="191"/>
                      </a:cubicBezTo>
                      <a:cubicBezTo>
                        <a:pt x="2067" y="209"/>
                        <a:pt x="2052" y="224"/>
                        <a:pt x="2034" y="224"/>
                      </a:cubicBezTo>
                      <a:cubicBezTo>
                        <a:pt x="2015" y="224"/>
                        <a:pt x="2001" y="209"/>
                        <a:pt x="2001" y="191"/>
                      </a:cubicBezTo>
                      <a:cubicBezTo>
                        <a:pt x="2001" y="172"/>
                        <a:pt x="2015" y="157"/>
                        <a:pt x="2034" y="157"/>
                      </a:cubicBezTo>
                      <a:close/>
                      <a:moveTo>
                        <a:pt x="2301" y="159"/>
                      </a:moveTo>
                      <a:lnTo>
                        <a:pt x="2301" y="159"/>
                      </a:lnTo>
                      <a:cubicBezTo>
                        <a:pt x="2319" y="159"/>
                        <a:pt x="2334" y="174"/>
                        <a:pt x="2334" y="193"/>
                      </a:cubicBezTo>
                      <a:cubicBezTo>
                        <a:pt x="2334" y="211"/>
                        <a:pt x="2319" y="226"/>
                        <a:pt x="2301" y="226"/>
                      </a:cubicBezTo>
                      <a:cubicBezTo>
                        <a:pt x="2282" y="226"/>
                        <a:pt x="2267" y="211"/>
                        <a:pt x="2267" y="193"/>
                      </a:cubicBezTo>
                      <a:cubicBezTo>
                        <a:pt x="2267" y="174"/>
                        <a:pt x="2282" y="159"/>
                        <a:pt x="2301" y="159"/>
                      </a:cubicBezTo>
                      <a:close/>
                      <a:moveTo>
                        <a:pt x="2568" y="161"/>
                      </a:moveTo>
                      <a:lnTo>
                        <a:pt x="3034" y="165"/>
                      </a:lnTo>
                      <a:cubicBezTo>
                        <a:pt x="3053" y="165"/>
                        <a:pt x="3067" y="180"/>
                        <a:pt x="3067" y="198"/>
                      </a:cubicBezTo>
                      <a:cubicBezTo>
                        <a:pt x="3067" y="217"/>
                        <a:pt x="3052" y="231"/>
                        <a:pt x="3034" y="231"/>
                      </a:cubicBezTo>
                      <a:lnTo>
                        <a:pt x="2567" y="228"/>
                      </a:lnTo>
                      <a:cubicBezTo>
                        <a:pt x="2549" y="228"/>
                        <a:pt x="2534" y="213"/>
                        <a:pt x="2534" y="194"/>
                      </a:cubicBezTo>
                      <a:cubicBezTo>
                        <a:pt x="2534" y="176"/>
                        <a:pt x="2549" y="161"/>
                        <a:pt x="2568" y="161"/>
                      </a:cubicBezTo>
                      <a:close/>
                      <a:moveTo>
                        <a:pt x="3301" y="167"/>
                      </a:moveTo>
                      <a:lnTo>
                        <a:pt x="3301" y="167"/>
                      </a:lnTo>
                      <a:cubicBezTo>
                        <a:pt x="3319" y="167"/>
                        <a:pt x="3334" y="181"/>
                        <a:pt x="3334" y="200"/>
                      </a:cubicBezTo>
                      <a:cubicBezTo>
                        <a:pt x="3334" y="218"/>
                        <a:pt x="3319" y="233"/>
                        <a:pt x="3301" y="233"/>
                      </a:cubicBezTo>
                      <a:cubicBezTo>
                        <a:pt x="3282" y="233"/>
                        <a:pt x="3267" y="218"/>
                        <a:pt x="3267" y="200"/>
                      </a:cubicBezTo>
                      <a:cubicBezTo>
                        <a:pt x="3267" y="181"/>
                        <a:pt x="3282" y="167"/>
                        <a:pt x="3301" y="167"/>
                      </a:cubicBezTo>
                      <a:close/>
                      <a:moveTo>
                        <a:pt x="3252" y="0"/>
                      </a:moveTo>
                      <a:lnTo>
                        <a:pt x="3650" y="202"/>
                      </a:lnTo>
                      <a:lnTo>
                        <a:pt x="3249" y="400"/>
                      </a:lnTo>
                      <a:lnTo>
                        <a:pt x="3252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6" name="Freeform 295"/>
                <p:cNvSpPr>
                  <a:spLocks noEditPoints="1"/>
                </p:cNvSpPr>
                <p:nvPr/>
              </p:nvSpPr>
              <p:spPr bwMode="auto">
                <a:xfrm>
                  <a:off x="1421605" y="4002694"/>
                  <a:ext cx="485213" cy="246985"/>
                </a:xfrm>
                <a:custGeom>
                  <a:avLst/>
                  <a:gdLst>
                    <a:gd name="T0" fmla="*/ 2147483647 w 2305"/>
                    <a:gd name="T1" fmla="*/ 2147483647 h 1172"/>
                    <a:gd name="T2" fmla="*/ 2147483647 w 2305"/>
                    <a:gd name="T3" fmla="*/ 2147483647 h 1172"/>
                    <a:gd name="T4" fmla="*/ 2147483647 w 2305"/>
                    <a:gd name="T5" fmla="*/ 2147483647 h 1172"/>
                    <a:gd name="T6" fmla="*/ 2147483647 w 2305"/>
                    <a:gd name="T7" fmla="*/ 2147483647 h 1172"/>
                    <a:gd name="T8" fmla="*/ 2147483647 w 2305"/>
                    <a:gd name="T9" fmla="*/ 2147483647 h 1172"/>
                    <a:gd name="T10" fmla="*/ 2147483647 w 2305"/>
                    <a:gd name="T11" fmla="*/ 2147483647 h 1172"/>
                    <a:gd name="T12" fmla="*/ 2147483647 w 2305"/>
                    <a:gd name="T13" fmla="*/ 2147483647 h 1172"/>
                    <a:gd name="T14" fmla="*/ 2147483647 w 2305"/>
                    <a:gd name="T15" fmla="*/ 2147483647 h 1172"/>
                    <a:gd name="T16" fmla="*/ 2147483647 w 2305"/>
                    <a:gd name="T17" fmla="*/ 2147483647 h 1172"/>
                    <a:gd name="T18" fmla="*/ 2147483647 w 2305"/>
                    <a:gd name="T19" fmla="*/ 2147483647 h 1172"/>
                    <a:gd name="T20" fmla="*/ 2147483647 w 2305"/>
                    <a:gd name="T21" fmla="*/ 2147483647 h 1172"/>
                    <a:gd name="T22" fmla="*/ 2147483647 w 2305"/>
                    <a:gd name="T23" fmla="*/ 2147483647 h 1172"/>
                    <a:gd name="T24" fmla="*/ 2147483647 w 2305"/>
                    <a:gd name="T25" fmla="*/ 2147483647 h 1172"/>
                    <a:gd name="T26" fmla="*/ 2147483647 w 2305"/>
                    <a:gd name="T27" fmla="*/ 2147483647 h 1172"/>
                    <a:gd name="T28" fmla="*/ 2147483647 w 2305"/>
                    <a:gd name="T29" fmla="*/ 2147483647 h 1172"/>
                    <a:gd name="T30" fmla="*/ 2147483647 w 2305"/>
                    <a:gd name="T31" fmla="*/ 2147483647 h 1172"/>
                    <a:gd name="T32" fmla="*/ 2147483647 w 2305"/>
                    <a:gd name="T33" fmla="*/ 2147483647 h 1172"/>
                    <a:gd name="T34" fmla="*/ 2147483647 w 2305"/>
                    <a:gd name="T35" fmla="*/ 2147483647 h 1172"/>
                    <a:gd name="T36" fmla="*/ 2147483647 w 2305"/>
                    <a:gd name="T37" fmla="*/ 2147483647 h 1172"/>
                    <a:gd name="T38" fmla="*/ 2147483647 w 2305"/>
                    <a:gd name="T39" fmla="*/ 2147483647 h 1172"/>
                    <a:gd name="T40" fmla="*/ 2147483647 w 2305"/>
                    <a:gd name="T41" fmla="*/ 2147483647 h 1172"/>
                    <a:gd name="T42" fmla="*/ 2147483647 w 2305"/>
                    <a:gd name="T43" fmla="*/ 2147483647 h 1172"/>
                    <a:gd name="T44" fmla="*/ 2147483647 w 2305"/>
                    <a:gd name="T45" fmla="*/ 2147483647 h 1172"/>
                    <a:gd name="T46" fmla="*/ 2147483647 w 2305"/>
                    <a:gd name="T47" fmla="*/ 2147483647 h 1172"/>
                    <a:gd name="T48" fmla="*/ 2147483647 w 2305"/>
                    <a:gd name="T49" fmla="*/ 2147483647 h 1172"/>
                    <a:gd name="T50" fmla="*/ 2147483647 w 2305"/>
                    <a:gd name="T51" fmla="*/ 2147483647 h 1172"/>
                    <a:gd name="T52" fmla="*/ 2147483647 w 2305"/>
                    <a:gd name="T53" fmla="*/ 2147483647 h 1172"/>
                    <a:gd name="T54" fmla="*/ 2147483647 w 2305"/>
                    <a:gd name="T55" fmla="*/ 2147483647 h 1172"/>
                    <a:gd name="T56" fmla="*/ 2147483647 w 2305"/>
                    <a:gd name="T57" fmla="*/ 2147483647 h 1172"/>
                    <a:gd name="T58" fmla="*/ 2147483647 w 2305"/>
                    <a:gd name="T59" fmla="*/ 2147483647 h 1172"/>
                    <a:gd name="T60" fmla="*/ 2147483647 w 2305"/>
                    <a:gd name="T61" fmla="*/ 2147483647 h 1172"/>
                    <a:gd name="T62" fmla="*/ 2147483647 w 2305"/>
                    <a:gd name="T63" fmla="*/ 2147483647 h 1172"/>
                    <a:gd name="T64" fmla="*/ 2147483647 w 2305"/>
                    <a:gd name="T65" fmla="*/ 2147483647 h 1172"/>
                    <a:gd name="T66" fmla="*/ 2147483647 w 2305"/>
                    <a:gd name="T67" fmla="*/ 2147483647 h 1172"/>
                    <a:gd name="T68" fmla="*/ 2147483647 w 2305"/>
                    <a:gd name="T69" fmla="*/ 2147483647 h 1172"/>
                    <a:gd name="T70" fmla="*/ 2147483647 w 2305"/>
                    <a:gd name="T71" fmla="*/ 0 h 1172"/>
                    <a:gd name="T72" fmla="*/ 2147483647 w 2305"/>
                    <a:gd name="T73" fmla="*/ 0 h 1172"/>
                    <a:gd name="T74" fmla="*/ 2147483647 w 2305"/>
                    <a:gd name="T75" fmla="*/ 2147483647 h 1172"/>
                    <a:gd name="T76" fmla="*/ 2147483647 w 2305"/>
                    <a:gd name="T77" fmla="*/ 0 h 117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0" t="0" r="r" b="b"/>
                  <a:pathLst>
                    <a:path w="2305" h="1172">
                      <a:moveTo>
                        <a:pt x="23" y="1104"/>
                      </a:moveTo>
                      <a:lnTo>
                        <a:pt x="441" y="895"/>
                      </a:lnTo>
                      <a:cubicBezTo>
                        <a:pt x="457" y="887"/>
                        <a:pt x="477" y="894"/>
                        <a:pt x="485" y="910"/>
                      </a:cubicBezTo>
                      <a:cubicBezTo>
                        <a:pt x="494" y="927"/>
                        <a:pt x="487" y="947"/>
                        <a:pt x="470" y="955"/>
                      </a:cubicBezTo>
                      <a:lnTo>
                        <a:pt x="53" y="1164"/>
                      </a:lnTo>
                      <a:cubicBezTo>
                        <a:pt x="37" y="1172"/>
                        <a:pt x="17" y="1165"/>
                        <a:pt x="8" y="1149"/>
                      </a:cubicBezTo>
                      <a:cubicBezTo>
                        <a:pt x="0" y="1132"/>
                        <a:pt x="7" y="1112"/>
                        <a:pt x="23" y="1104"/>
                      </a:cubicBezTo>
                      <a:close/>
                      <a:moveTo>
                        <a:pt x="679" y="776"/>
                      </a:moveTo>
                      <a:lnTo>
                        <a:pt x="679" y="776"/>
                      </a:lnTo>
                      <a:cubicBezTo>
                        <a:pt x="695" y="768"/>
                        <a:pt x="715" y="774"/>
                        <a:pt x="724" y="790"/>
                      </a:cubicBezTo>
                      <a:cubicBezTo>
                        <a:pt x="732" y="807"/>
                        <a:pt x="726" y="827"/>
                        <a:pt x="710" y="835"/>
                      </a:cubicBezTo>
                      <a:cubicBezTo>
                        <a:pt x="693" y="844"/>
                        <a:pt x="673" y="838"/>
                        <a:pt x="665" y="821"/>
                      </a:cubicBezTo>
                      <a:cubicBezTo>
                        <a:pt x="656" y="805"/>
                        <a:pt x="662" y="785"/>
                        <a:pt x="679" y="776"/>
                      </a:cubicBezTo>
                      <a:close/>
                      <a:moveTo>
                        <a:pt x="917" y="657"/>
                      </a:moveTo>
                      <a:lnTo>
                        <a:pt x="917" y="657"/>
                      </a:lnTo>
                      <a:cubicBezTo>
                        <a:pt x="933" y="648"/>
                        <a:pt x="954" y="655"/>
                        <a:pt x="962" y="671"/>
                      </a:cubicBezTo>
                      <a:cubicBezTo>
                        <a:pt x="971" y="687"/>
                        <a:pt x="964" y="707"/>
                        <a:pt x="948" y="716"/>
                      </a:cubicBezTo>
                      <a:cubicBezTo>
                        <a:pt x="932" y="725"/>
                        <a:pt x="912" y="718"/>
                        <a:pt x="903" y="702"/>
                      </a:cubicBezTo>
                      <a:cubicBezTo>
                        <a:pt x="895" y="686"/>
                        <a:pt x="901" y="666"/>
                        <a:pt x="917" y="657"/>
                      </a:cubicBezTo>
                      <a:close/>
                      <a:moveTo>
                        <a:pt x="1156" y="537"/>
                      </a:moveTo>
                      <a:lnTo>
                        <a:pt x="1574" y="329"/>
                      </a:lnTo>
                      <a:cubicBezTo>
                        <a:pt x="1590" y="321"/>
                        <a:pt x="1610" y="327"/>
                        <a:pt x="1618" y="344"/>
                      </a:cubicBezTo>
                      <a:cubicBezTo>
                        <a:pt x="1627" y="360"/>
                        <a:pt x="1620" y="380"/>
                        <a:pt x="1604" y="388"/>
                      </a:cubicBezTo>
                      <a:lnTo>
                        <a:pt x="1186" y="597"/>
                      </a:lnTo>
                      <a:cubicBezTo>
                        <a:pt x="1170" y="605"/>
                        <a:pt x="1150" y="599"/>
                        <a:pt x="1141" y="582"/>
                      </a:cubicBezTo>
                      <a:cubicBezTo>
                        <a:pt x="1133" y="566"/>
                        <a:pt x="1140" y="546"/>
                        <a:pt x="1156" y="537"/>
                      </a:cubicBezTo>
                      <a:close/>
                      <a:moveTo>
                        <a:pt x="1812" y="210"/>
                      </a:moveTo>
                      <a:lnTo>
                        <a:pt x="1812" y="210"/>
                      </a:lnTo>
                      <a:cubicBezTo>
                        <a:pt x="1828" y="201"/>
                        <a:pt x="1848" y="207"/>
                        <a:pt x="1857" y="224"/>
                      </a:cubicBezTo>
                      <a:cubicBezTo>
                        <a:pt x="1865" y="240"/>
                        <a:pt x="1859" y="260"/>
                        <a:pt x="1843" y="269"/>
                      </a:cubicBezTo>
                      <a:cubicBezTo>
                        <a:pt x="1826" y="277"/>
                        <a:pt x="1806" y="271"/>
                        <a:pt x="1798" y="255"/>
                      </a:cubicBezTo>
                      <a:cubicBezTo>
                        <a:pt x="1789" y="238"/>
                        <a:pt x="1795" y="218"/>
                        <a:pt x="1812" y="210"/>
                      </a:cubicBezTo>
                      <a:close/>
                      <a:moveTo>
                        <a:pt x="1858" y="0"/>
                      </a:moveTo>
                      <a:lnTo>
                        <a:pt x="2305" y="0"/>
                      </a:lnTo>
                      <a:lnTo>
                        <a:pt x="2036" y="358"/>
                      </a:lnTo>
                      <a:lnTo>
                        <a:pt x="18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7" name="Freeform 296"/>
                <p:cNvSpPr>
                  <a:spLocks noEditPoints="1"/>
                </p:cNvSpPr>
                <p:nvPr/>
              </p:nvSpPr>
              <p:spPr bwMode="auto">
                <a:xfrm>
                  <a:off x="1423357" y="4251432"/>
                  <a:ext cx="1008962" cy="203194"/>
                </a:xfrm>
                <a:custGeom>
                  <a:avLst/>
                  <a:gdLst>
                    <a:gd name="T0" fmla="*/ 2147483647 w 4806"/>
                    <a:gd name="T1" fmla="*/ 2147483647 h 970"/>
                    <a:gd name="T2" fmla="*/ 2147483647 w 4806"/>
                    <a:gd name="T3" fmla="*/ 2147483647 h 970"/>
                    <a:gd name="T4" fmla="*/ 2147483647 w 4806"/>
                    <a:gd name="T5" fmla="*/ 2147483647 h 970"/>
                    <a:gd name="T6" fmla="*/ 2147483647 w 4806"/>
                    <a:gd name="T7" fmla="*/ 2147483647 h 970"/>
                    <a:gd name="T8" fmla="*/ 2147483647 w 4806"/>
                    <a:gd name="T9" fmla="*/ 2147483647 h 970"/>
                    <a:gd name="T10" fmla="*/ 2147483647 w 4806"/>
                    <a:gd name="T11" fmla="*/ 2147483647 h 970"/>
                    <a:gd name="T12" fmla="*/ 2147483647 w 4806"/>
                    <a:gd name="T13" fmla="*/ 2147483647 h 970"/>
                    <a:gd name="T14" fmla="*/ 2147483647 w 4806"/>
                    <a:gd name="T15" fmla="*/ 2147483647 h 970"/>
                    <a:gd name="T16" fmla="*/ 2147483647 w 4806"/>
                    <a:gd name="T17" fmla="*/ 2147483647 h 970"/>
                    <a:gd name="T18" fmla="*/ 2147483647 w 4806"/>
                    <a:gd name="T19" fmla="*/ 2147483647 h 970"/>
                    <a:gd name="T20" fmla="*/ 2147483647 w 4806"/>
                    <a:gd name="T21" fmla="*/ 2147483647 h 970"/>
                    <a:gd name="T22" fmla="*/ 2147483647 w 4806"/>
                    <a:gd name="T23" fmla="*/ 2147483647 h 970"/>
                    <a:gd name="T24" fmla="*/ 2147483647 w 4806"/>
                    <a:gd name="T25" fmla="*/ 2147483647 h 970"/>
                    <a:gd name="T26" fmla="*/ 2147483647 w 4806"/>
                    <a:gd name="T27" fmla="*/ 2147483647 h 970"/>
                    <a:gd name="T28" fmla="*/ 2147483647 w 4806"/>
                    <a:gd name="T29" fmla="*/ 2147483647 h 970"/>
                    <a:gd name="T30" fmla="*/ 2147483647 w 4806"/>
                    <a:gd name="T31" fmla="*/ 2147483647 h 970"/>
                    <a:gd name="T32" fmla="*/ 2147483647 w 4806"/>
                    <a:gd name="T33" fmla="*/ 2147483647 h 970"/>
                    <a:gd name="T34" fmla="*/ 2147483647 w 4806"/>
                    <a:gd name="T35" fmla="*/ 2147483647 h 970"/>
                    <a:gd name="T36" fmla="*/ 2147483647 w 4806"/>
                    <a:gd name="T37" fmla="*/ 2147483647 h 970"/>
                    <a:gd name="T38" fmla="*/ 2147483647 w 4806"/>
                    <a:gd name="T39" fmla="*/ 2147483647 h 970"/>
                    <a:gd name="T40" fmla="*/ 2147483647 w 4806"/>
                    <a:gd name="T41" fmla="*/ 2147483647 h 970"/>
                    <a:gd name="T42" fmla="*/ 2147483647 w 4806"/>
                    <a:gd name="T43" fmla="*/ 2147483647 h 970"/>
                    <a:gd name="T44" fmla="*/ 2147483647 w 4806"/>
                    <a:gd name="T45" fmla="*/ 2147483647 h 970"/>
                    <a:gd name="T46" fmla="*/ 2147483647 w 4806"/>
                    <a:gd name="T47" fmla="*/ 2147483647 h 970"/>
                    <a:gd name="T48" fmla="*/ 2147483647 w 4806"/>
                    <a:gd name="T49" fmla="*/ 2147483647 h 970"/>
                    <a:gd name="T50" fmla="*/ 2147483647 w 4806"/>
                    <a:gd name="T51" fmla="*/ 2147483647 h 970"/>
                    <a:gd name="T52" fmla="*/ 2147483647 w 4806"/>
                    <a:gd name="T53" fmla="*/ 2147483647 h 970"/>
                    <a:gd name="T54" fmla="*/ 2147483647 w 4806"/>
                    <a:gd name="T55" fmla="*/ 2147483647 h 970"/>
                    <a:gd name="T56" fmla="*/ 2147483647 w 4806"/>
                    <a:gd name="T57" fmla="*/ 2147483647 h 970"/>
                    <a:gd name="T58" fmla="*/ 2147483647 w 4806"/>
                    <a:gd name="T59" fmla="*/ 2147483647 h 970"/>
                    <a:gd name="T60" fmla="*/ 2147483647 w 4806"/>
                    <a:gd name="T61" fmla="*/ 2147483647 h 970"/>
                    <a:gd name="T62" fmla="*/ 2147483647 w 4806"/>
                    <a:gd name="T63" fmla="*/ 2147483647 h 970"/>
                    <a:gd name="T64" fmla="*/ 2147483647 w 4806"/>
                    <a:gd name="T65" fmla="*/ 2147483647 h 970"/>
                    <a:gd name="T66" fmla="*/ 2147483647 w 4806"/>
                    <a:gd name="T67" fmla="*/ 2147483647 h 970"/>
                    <a:gd name="T68" fmla="*/ 2147483647 w 4806"/>
                    <a:gd name="T69" fmla="*/ 2147483647 h 970"/>
                    <a:gd name="T70" fmla="*/ 2147483647 w 4806"/>
                    <a:gd name="T71" fmla="*/ 2147483647 h 970"/>
                    <a:gd name="T72" fmla="*/ 2147483647 w 4806"/>
                    <a:gd name="T73" fmla="*/ 2147483647 h 9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4806" h="970">
                      <a:moveTo>
                        <a:pt x="42" y="3"/>
                      </a:moveTo>
                      <a:lnTo>
                        <a:pt x="502" y="80"/>
                      </a:lnTo>
                      <a:cubicBezTo>
                        <a:pt x="520" y="83"/>
                        <a:pt x="532" y="101"/>
                        <a:pt x="529" y="119"/>
                      </a:cubicBezTo>
                      <a:cubicBezTo>
                        <a:pt x="526" y="137"/>
                        <a:pt x="509" y="149"/>
                        <a:pt x="491" y="146"/>
                      </a:cubicBezTo>
                      <a:lnTo>
                        <a:pt x="31" y="69"/>
                      </a:lnTo>
                      <a:cubicBezTo>
                        <a:pt x="12" y="66"/>
                        <a:pt x="0" y="48"/>
                        <a:pt x="3" y="30"/>
                      </a:cubicBezTo>
                      <a:cubicBezTo>
                        <a:pt x="6" y="12"/>
                        <a:pt x="24" y="0"/>
                        <a:pt x="42" y="3"/>
                      </a:cubicBezTo>
                      <a:close/>
                      <a:moveTo>
                        <a:pt x="764" y="125"/>
                      </a:moveTo>
                      <a:lnTo>
                        <a:pt x="764" y="125"/>
                      </a:lnTo>
                      <a:cubicBezTo>
                        <a:pt x="782" y="127"/>
                        <a:pt x="795" y="144"/>
                        <a:pt x="792" y="163"/>
                      </a:cubicBezTo>
                      <a:cubicBezTo>
                        <a:pt x="790" y="181"/>
                        <a:pt x="773" y="193"/>
                        <a:pt x="754" y="191"/>
                      </a:cubicBezTo>
                      <a:cubicBezTo>
                        <a:pt x="736" y="188"/>
                        <a:pt x="724" y="171"/>
                        <a:pt x="726" y="153"/>
                      </a:cubicBezTo>
                      <a:cubicBezTo>
                        <a:pt x="729" y="134"/>
                        <a:pt x="746" y="122"/>
                        <a:pt x="764" y="125"/>
                      </a:cubicBezTo>
                      <a:close/>
                      <a:moveTo>
                        <a:pt x="1027" y="169"/>
                      </a:moveTo>
                      <a:lnTo>
                        <a:pt x="1027" y="169"/>
                      </a:lnTo>
                      <a:cubicBezTo>
                        <a:pt x="1046" y="172"/>
                        <a:pt x="1058" y="189"/>
                        <a:pt x="1055" y="207"/>
                      </a:cubicBezTo>
                      <a:cubicBezTo>
                        <a:pt x="1053" y="225"/>
                        <a:pt x="1036" y="238"/>
                        <a:pt x="1017" y="235"/>
                      </a:cubicBezTo>
                      <a:cubicBezTo>
                        <a:pt x="999" y="232"/>
                        <a:pt x="987" y="215"/>
                        <a:pt x="989" y="197"/>
                      </a:cubicBezTo>
                      <a:cubicBezTo>
                        <a:pt x="992" y="179"/>
                        <a:pt x="1009" y="166"/>
                        <a:pt x="1027" y="169"/>
                      </a:cubicBezTo>
                      <a:close/>
                      <a:moveTo>
                        <a:pt x="1291" y="213"/>
                      </a:moveTo>
                      <a:lnTo>
                        <a:pt x="1751" y="291"/>
                      </a:lnTo>
                      <a:cubicBezTo>
                        <a:pt x="1769" y="294"/>
                        <a:pt x="1781" y="311"/>
                        <a:pt x="1778" y="329"/>
                      </a:cubicBezTo>
                      <a:cubicBezTo>
                        <a:pt x="1775" y="347"/>
                        <a:pt x="1758" y="360"/>
                        <a:pt x="1740" y="357"/>
                      </a:cubicBezTo>
                      <a:lnTo>
                        <a:pt x="1280" y="279"/>
                      </a:lnTo>
                      <a:cubicBezTo>
                        <a:pt x="1262" y="276"/>
                        <a:pt x="1249" y="259"/>
                        <a:pt x="1252" y="241"/>
                      </a:cubicBezTo>
                      <a:cubicBezTo>
                        <a:pt x="1256" y="222"/>
                        <a:pt x="1273" y="210"/>
                        <a:pt x="1291" y="213"/>
                      </a:cubicBezTo>
                      <a:close/>
                      <a:moveTo>
                        <a:pt x="2013" y="335"/>
                      </a:moveTo>
                      <a:lnTo>
                        <a:pt x="2013" y="335"/>
                      </a:lnTo>
                      <a:cubicBezTo>
                        <a:pt x="2032" y="338"/>
                        <a:pt x="2044" y="355"/>
                        <a:pt x="2042" y="373"/>
                      </a:cubicBezTo>
                      <a:cubicBezTo>
                        <a:pt x="2039" y="391"/>
                        <a:pt x="2022" y="404"/>
                        <a:pt x="2004" y="401"/>
                      </a:cubicBezTo>
                      <a:cubicBezTo>
                        <a:pt x="1985" y="398"/>
                        <a:pt x="1973" y="381"/>
                        <a:pt x="1976" y="363"/>
                      </a:cubicBezTo>
                      <a:cubicBezTo>
                        <a:pt x="1978" y="345"/>
                        <a:pt x="1995" y="332"/>
                        <a:pt x="2013" y="335"/>
                      </a:cubicBezTo>
                      <a:close/>
                      <a:moveTo>
                        <a:pt x="2276" y="379"/>
                      </a:moveTo>
                      <a:lnTo>
                        <a:pt x="2277" y="379"/>
                      </a:lnTo>
                      <a:cubicBezTo>
                        <a:pt x="2295" y="382"/>
                        <a:pt x="2307" y="399"/>
                        <a:pt x="2305" y="417"/>
                      </a:cubicBezTo>
                      <a:cubicBezTo>
                        <a:pt x="2302" y="435"/>
                        <a:pt x="2285" y="448"/>
                        <a:pt x="2267" y="445"/>
                      </a:cubicBezTo>
                      <a:cubicBezTo>
                        <a:pt x="2248" y="443"/>
                        <a:pt x="2236" y="426"/>
                        <a:pt x="2239" y="407"/>
                      </a:cubicBezTo>
                      <a:cubicBezTo>
                        <a:pt x="2241" y="389"/>
                        <a:pt x="2258" y="377"/>
                        <a:pt x="2276" y="379"/>
                      </a:cubicBezTo>
                      <a:close/>
                      <a:moveTo>
                        <a:pt x="2540" y="424"/>
                      </a:moveTo>
                      <a:lnTo>
                        <a:pt x="3000" y="501"/>
                      </a:lnTo>
                      <a:cubicBezTo>
                        <a:pt x="3018" y="504"/>
                        <a:pt x="3031" y="521"/>
                        <a:pt x="3028" y="540"/>
                      </a:cubicBezTo>
                      <a:cubicBezTo>
                        <a:pt x="3025" y="558"/>
                        <a:pt x="3007" y="570"/>
                        <a:pt x="2989" y="567"/>
                      </a:cubicBezTo>
                      <a:lnTo>
                        <a:pt x="2529" y="489"/>
                      </a:lnTo>
                      <a:cubicBezTo>
                        <a:pt x="2511" y="486"/>
                        <a:pt x="2499" y="469"/>
                        <a:pt x="2502" y="451"/>
                      </a:cubicBezTo>
                      <a:cubicBezTo>
                        <a:pt x="2505" y="433"/>
                        <a:pt x="2522" y="421"/>
                        <a:pt x="2540" y="424"/>
                      </a:cubicBezTo>
                      <a:close/>
                      <a:moveTo>
                        <a:pt x="3263" y="545"/>
                      </a:moveTo>
                      <a:lnTo>
                        <a:pt x="3263" y="545"/>
                      </a:lnTo>
                      <a:cubicBezTo>
                        <a:pt x="3281" y="548"/>
                        <a:pt x="3293" y="565"/>
                        <a:pt x="3291" y="583"/>
                      </a:cubicBezTo>
                      <a:cubicBezTo>
                        <a:pt x="3288" y="601"/>
                        <a:pt x="3271" y="614"/>
                        <a:pt x="3253" y="611"/>
                      </a:cubicBezTo>
                      <a:cubicBezTo>
                        <a:pt x="3235" y="609"/>
                        <a:pt x="3222" y="592"/>
                        <a:pt x="3225" y="573"/>
                      </a:cubicBezTo>
                      <a:cubicBezTo>
                        <a:pt x="3227" y="555"/>
                        <a:pt x="3244" y="543"/>
                        <a:pt x="3263" y="545"/>
                      </a:cubicBezTo>
                      <a:close/>
                      <a:moveTo>
                        <a:pt x="3526" y="590"/>
                      </a:moveTo>
                      <a:lnTo>
                        <a:pt x="3526" y="590"/>
                      </a:lnTo>
                      <a:cubicBezTo>
                        <a:pt x="3544" y="592"/>
                        <a:pt x="3556" y="609"/>
                        <a:pt x="3554" y="628"/>
                      </a:cubicBezTo>
                      <a:cubicBezTo>
                        <a:pt x="3551" y="646"/>
                        <a:pt x="3534" y="658"/>
                        <a:pt x="3516" y="656"/>
                      </a:cubicBezTo>
                      <a:cubicBezTo>
                        <a:pt x="3498" y="653"/>
                        <a:pt x="3485" y="636"/>
                        <a:pt x="3488" y="618"/>
                      </a:cubicBezTo>
                      <a:cubicBezTo>
                        <a:pt x="3490" y="600"/>
                        <a:pt x="3507" y="587"/>
                        <a:pt x="3526" y="590"/>
                      </a:cubicBezTo>
                      <a:close/>
                      <a:moveTo>
                        <a:pt x="3789" y="634"/>
                      </a:moveTo>
                      <a:lnTo>
                        <a:pt x="4249" y="712"/>
                      </a:lnTo>
                      <a:cubicBezTo>
                        <a:pt x="4268" y="715"/>
                        <a:pt x="4280" y="732"/>
                        <a:pt x="4277" y="750"/>
                      </a:cubicBezTo>
                      <a:cubicBezTo>
                        <a:pt x="4274" y="768"/>
                        <a:pt x="4257" y="780"/>
                        <a:pt x="4238" y="777"/>
                      </a:cubicBezTo>
                      <a:lnTo>
                        <a:pt x="3778" y="700"/>
                      </a:lnTo>
                      <a:cubicBezTo>
                        <a:pt x="3760" y="697"/>
                        <a:pt x="3748" y="680"/>
                        <a:pt x="3751" y="661"/>
                      </a:cubicBezTo>
                      <a:cubicBezTo>
                        <a:pt x="3754" y="643"/>
                        <a:pt x="3771" y="631"/>
                        <a:pt x="3789" y="634"/>
                      </a:cubicBezTo>
                      <a:close/>
                      <a:moveTo>
                        <a:pt x="4445" y="575"/>
                      </a:moveTo>
                      <a:lnTo>
                        <a:pt x="4806" y="839"/>
                      </a:lnTo>
                      <a:lnTo>
                        <a:pt x="4378" y="970"/>
                      </a:lnTo>
                      <a:lnTo>
                        <a:pt x="4445" y="5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8" name="Freeform 297"/>
                <p:cNvSpPr>
                  <a:spLocks noEditPoints="1"/>
                </p:cNvSpPr>
                <p:nvPr/>
              </p:nvSpPr>
              <p:spPr bwMode="auto">
                <a:xfrm>
                  <a:off x="1397082" y="3813514"/>
                  <a:ext cx="401133" cy="464193"/>
                </a:xfrm>
                <a:custGeom>
                  <a:avLst/>
                  <a:gdLst>
                    <a:gd name="T0" fmla="*/ 2147483647 w 1904"/>
                    <a:gd name="T1" fmla="*/ 2147483647 h 2210"/>
                    <a:gd name="T2" fmla="*/ 2147483647 w 1904"/>
                    <a:gd name="T3" fmla="*/ 2147483647 h 2210"/>
                    <a:gd name="T4" fmla="*/ 2147483647 w 1904"/>
                    <a:gd name="T5" fmla="*/ 2147483647 h 2210"/>
                    <a:gd name="T6" fmla="*/ 2147483647 w 1904"/>
                    <a:gd name="T7" fmla="*/ 2147483647 h 2210"/>
                    <a:gd name="T8" fmla="*/ 2147483647 w 1904"/>
                    <a:gd name="T9" fmla="*/ 2147483647 h 2210"/>
                    <a:gd name="T10" fmla="*/ 2147483647 w 1904"/>
                    <a:gd name="T11" fmla="*/ 2147483647 h 2210"/>
                    <a:gd name="T12" fmla="*/ 2147483647 w 1904"/>
                    <a:gd name="T13" fmla="*/ 2147483647 h 2210"/>
                    <a:gd name="T14" fmla="*/ 2147483647 w 1904"/>
                    <a:gd name="T15" fmla="*/ 2147483647 h 2210"/>
                    <a:gd name="T16" fmla="*/ 2147483647 w 1904"/>
                    <a:gd name="T17" fmla="*/ 2147483647 h 2210"/>
                    <a:gd name="T18" fmla="*/ 2147483647 w 1904"/>
                    <a:gd name="T19" fmla="*/ 2147483647 h 2210"/>
                    <a:gd name="T20" fmla="*/ 2147483647 w 1904"/>
                    <a:gd name="T21" fmla="*/ 2147483647 h 2210"/>
                    <a:gd name="T22" fmla="*/ 2147483647 w 1904"/>
                    <a:gd name="T23" fmla="*/ 2147483647 h 2210"/>
                    <a:gd name="T24" fmla="*/ 2147483647 w 1904"/>
                    <a:gd name="T25" fmla="*/ 2147483647 h 2210"/>
                    <a:gd name="T26" fmla="*/ 2147483647 w 1904"/>
                    <a:gd name="T27" fmla="*/ 2147483647 h 2210"/>
                    <a:gd name="T28" fmla="*/ 2147483647 w 1904"/>
                    <a:gd name="T29" fmla="*/ 2147483647 h 2210"/>
                    <a:gd name="T30" fmla="*/ 2147483647 w 1904"/>
                    <a:gd name="T31" fmla="*/ 2147483647 h 2210"/>
                    <a:gd name="T32" fmla="*/ 2147483647 w 1904"/>
                    <a:gd name="T33" fmla="*/ 2147483647 h 2210"/>
                    <a:gd name="T34" fmla="*/ 2147483647 w 1904"/>
                    <a:gd name="T35" fmla="*/ 2147483647 h 2210"/>
                    <a:gd name="T36" fmla="*/ 2147483647 w 1904"/>
                    <a:gd name="T37" fmla="*/ 2147483647 h 2210"/>
                    <a:gd name="T38" fmla="*/ 2147483647 w 1904"/>
                    <a:gd name="T39" fmla="*/ 2147483647 h 2210"/>
                    <a:gd name="T40" fmla="*/ 2147483647 w 1904"/>
                    <a:gd name="T41" fmla="*/ 2147483647 h 2210"/>
                    <a:gd name="T42" fmla="*/ 2147483647 w 1904"/>
                    <a:gd name="T43" fmla="*/ 2147483647 h 2210"/>
                    <a:gd name="T44" fmla="*/ 2147483647 w 1904"/>
                    <a:gd name="T45" fmla="*/ 2147483647 h 2210"/>
                    <a:gd name="T46" fmla="*/ 2147483647 w 1904"/>
                    <a:gd name="T47" fmla="*/ 2147483647 h 2210"/>
                    <a:gd name="T48" fmla="*/ 2147483647 w 1904"/>
                    <a:gd name="T49" fmla="*/ 2147483647 h 2210"/>
                    <a:gd name="T50" fmla="*/ 2147483647 w 1904"/>
                    <a:gd name="T51" fmla="*/ 2147483647 h 2210"/>
                    <a:gd name="T52" fmla="*/ 2147483647 w 1904"/>
                    <a:gd name="T53" fmla="*/ 2147483647 h 2210"/>
                    <a:gd name="T54" fmla="*/ 2147483647 w 1904"/>
                    <a:gd name="T55" fmla="*/ 2147483647 h 2210"/>
                    <a:gd name="T56" fmla="*/ 2147483647 w 1904"/>
                    <a:gd name="T57" fmla="*/ 2147483647 h 2210"/>
                    <a:gd name="T58" fmla="*/ 2147483647 w 1904"/>
                    <a:gd name="T59" fmla="*/ 2147483647 h 2210"/>
                    <a:gd name="T60" fmla="*/ 2147483647 w 1904"/>
                    <a:gd name="T61" fmla="*/ 2147483647 h 2210"/>
                    <a:gd name="T62" fmla="*/ 2147483647 w 1904"/>
                    <a:gd name="T63" fmla="*/ 2147483647 h 2210"/>
                    <a:gd name="T64" fmla="*/ 2147483647 w 1904"/>
                    <a:gd name="T65" fmla="*/ 2147483647 h 2210"/>
                    <a:gd name="T66" fmla="*/ 2147483647 w 1904"/>
                    <a:gd name="T67" fmla="*/ 2147483647 h 2210"/>
                    <a:gd name="T68" fmla="*/ 2147483647 w 1904"/>
                    <a:gd name="T69" fmla="*/ 2147483647 h 2210"/>
                    <a:gd name="T70" fmla="*/ 2147483647 w 1904"/>
                    <a:gd name="T71" fmla="*/ 2147483647 h 2210"/>
                    <a:gd name="T72" fmla="*/ 2147483647 w 1904"/>
                    <a:gd name="T73" fmla="*/ 2147483647 h 2210"/>
                    <a:gd name="T74" fmla="*/ 2147483647 w 1904"/>
                    <a:gd name="T75" fmla="*/ 2147483647 h 2210"/>
                    <a:gd name="T76" fmla="*/ 2147483647 w 1904"/>
                    <a:gd name="T77" fmla="*/ 2147483647 h 2210"/>
                    <a:gd name="T78" fmla="*/ 2147483647 w 1904"/>
                    <a:gd name="T79" fmla="*/ 2147483647 h 2210"/>
                    <a:gd name="T80" fmla="*/ 2147483647 w 1904"/>
                    <a:gd name="T81" fmla="*/ 2147483647 h 2210"/>
                    <a:gd name="T82" fmla="*/ 2147483647 w 1904"/>
                    <a:gd name="T83" fmla="*/ 2147483647 h 2210"/>
                    <a:gd name="T84" fmla="*/ 2147483647 w 1904"/>
                    <a:gd name="T85" fmla="*/ 2147483647 h 2210"/>
                    <a:gd name="T86" fmla="*/ 2147483647 w 1904"/>
                    <a:gd name="T87" fmla="*/ 0 h 2210"/>
                    <a:gd name="T88" fmla="*/ 2147483647 w 1904"/>
                    <a:gd name="T89" fmla="*/ 2147483647 h 2210"/>
                    <a:gd name="T90" fmla="*/ 2147483647 w 1904"/>
                    <a:gd name="T91" fmla="*/ 2147483647 h 2210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0" t="0" r="r" b="b"/>
                  <a:pathLst>
                    <a:path w="1904" h="2210">
                      <a:moveTo>
                        <a:pt x="12" y="2151"/>
                      </a:moveTo>
                      <a:lnTo>
                        <a:pt x="316" y="1797"/>
                      </a:lnTo>
                      <a:cubicBezTo>
                        <a:pt x="328" y="1783"/>
                        <a:pt x="349" y="1782"/>
                        <a:pt x="363" y="1794"/>
                      </a:cubicBezTo>
                      <a:cubicBezTo>
                        <a:pt x="377" y="1806"/>
                        <a:pt x="378" y="1827"/>
                        <a:pt x="366" y="1841"/>
                      </a:cubicBezTo>
                      <a:lnTo>
                        <a:pt x="62" y="2195"/>
                      </a:lnTo>
                      <a:cubicBezTo>
                        <a:pt x="50" y="2209"/>
                        <a:pt x="29" y="2210"/>
                        <a:pt x="15" y="2198"/>
                      </a:cubicBezTo>
                      <a:cubicBezTo>
                        <a:pt x="1" y="2186"/>
                        <a:pt x="0" y="2165"/>
                        <a:pt x="12" y="2151"/>
                      </a:cubicBezTo>
                      <a:close/>
                      <a:moveTo>
                        <a:pt x="489" y="1595"/>
                      </a:moveTo>
                      <a:lnTo>
                        <a:pt x="490" y="1595"/>
                      </a:lnTo>
                      <a:cubicBezTo>
                        <a:pt x="501" y="1581"/>
                        <a:pt x="522" y="1579"/>
                        <a:pt x="537" y="1591"/>
                      </a:cubicBezTo>
                      <a:cubicBezTo>
                        <a:pt x="551" y="1603"/>
                        <a:pt x="552" y="1624"/>
                        <a:pt x="540" y="1638"/>
                      </a:cubicBezTo>
                      <a:cubicBezTo>
                        <a:pt x="528" y="1652"/>
                        <a:pt x="507" y="1654"/>
                        <a:pt x="493" y="1642"/>
                      </a:cubicBezTo>
                      <a:cubicBezTo>
                        <a:pt x="479" y="1630"/>
                        <a:pt x="478" y="1609"/>
                        <a:pt x="489" y="1595"/>
                      </a:cubicBezTo>
                      <a:close/>
                      <a:moveTo>
                        <a:pt x="663" y="1393"/>
                      </a:moveTo>
                      <a:lnTo>
                        <a:pt x="663" y="1393"/>
                      </a:lnTo>
                      <a:cubicBezTo>
                        <a:pt x="675" y="1379"/>
                        <a:pt x="696" y="1377"/>
                        <a:pt x="710" y="1389"/>
                      </a:cubicBezTo>
                      <a:cubicBezTo>
                        <a:pt x="724" y="1401"/>
                        <a:pt x="726" y="1422"/>
                        <a:pt x="714" y="1436"/>
                      </a:cubicBezTo>
                      <a:cubicBezTo>
                        <a:pt x="702" y="1450"/>
                        <a:pt x="681" y="1452"/>
                        <a:pt x="667" y="1440"/>
                      </a:cubicBezTo>
                      <a:cubicBezTo>
                        <a:pt x="653" y="1428"/>
                        <a:pt x="651" y="1407"/>
                        <a:pt x="663" y="1393"/>
                      </a:cubicBezTo>
                      <a:close/>
                      <a:moveTo>
                        <a:pt x="837" y="1190"/>
                      </a:moveTo>
                      <a:lnTo>
                        <a:pt x="1141" y="836"/>
                      </a:lnTo>
                      <a:cubicBezTo>
                        <a:pt x="1153" y="822"/>
                        <a:pt x="1174" y="821"/>
                        <a:pt x="1188" y="833"/>
                      </a:cubicBezTo>
                      <a:cubicBezTo>
                        <a:pt x="1202" y="845"/>
                        <a:pt x="1204" y="866"/>
                        <a:pt x="1192" y="880"/>
                      </a:cubicBezTo>
                      <a:lnTo>
                        <a:pt x="888" y="1234"/>
                      </a:lnTo>
                      <a:cubicBezTo>
                        <a:pt x="876" y="1248"/>
                        <a:pt x="855" y="1249"/>
                        <a:pt x="841" y="1237"/>
                      </a:cubicBezTo>
                      <a:cubicBezTo>
                        <a:pt x="827" y="1225"/>
                        <a:pt x="825" y="1204"/>
                        <a:pt x="837" y="1190"/>
                      </a:cubicBezTo>
                      <a:close/>
                      <a:moveTo>
                        <a:pt x="1315" y="634"/>
                      </a:moveTo>
                      <a:lnTo>
                        <a:pt x="1315" y="634"/>
                      </a:lnTo>
                      <a:cubicBezTo>
                        <a:pt x="1327" y="620"/>
                        <a:pt x="1348" y="618"/>
                        <a:pt x="1362" y="630"/>
                      </a:cubicBezTo>
                      <a:cubicBezTo>
                        <a:pt x="1376" y="642"/>
                        <a:pt x="1378" y="663"/>
                        <a:pt x="1366" y="677"/>
                      </a:cubicBezTo>
                      <a:cubicBezTo>
                        <a:pt x="1354" y="691"/>
                        <a:pt x="1333" y="693"/>
                        <a:pt x="1319" y="681"/>
                      </a:cubicBezTo>
                      <a:cubicBezTo>
                        <a:pt x="1305" y="669"/>
                        <a:pt x="1303" y="648"/>
                        <a:pt x="1315" y="634"/>
                      </a:cubicBezTo>
                      <a:close/>
                      <a:moveTo>
                        <a:pt x="1489" y="432"/>
                      </a:moveTo>
                      <a:lnTo>
                        <a:pt x="1489" y="432"/>
                      </a:lnTo>
                      <a:cubicBezTo>
                        <a:pt x="1501" y="418"/>
                        <a:pt x="1522" y="416"/>
                        <a:pt x="1536" y="428"/>
                      </a:cubicBezTo>
                      <a:cubicBezTo>
                        <a:pt x="1550" y="440"/>
                        <a:pt x="1552" y="461"/>
                        <a:pt x="1540" y="475"/>
                      </a:cubicBezTo>
                      <a:cubicBezTo>
                        <a:pt x="1528" y="489"/>
                        <a:pt x="1507" y="491"/>
                        <a:pt x="1493" y="479"/>
                      </a:cubicBezTo>
                      <a:cubicBezTo>
                        <a:pt x="1479" y="467"/>
                        <a:pt x="1477" y="446"/>
                        <a:pt x="1489" y="432"/>
                      </a:cubicBezTo>
                      <a:close/>
                      <a:moveTo>
                        <a:pt x="1491" y="173"/>
                      </a:moveTo>
                      <a:lnTo>
                        <a:pt x="1904" y="0"/>
                      </a:lnTo>
                      <a:lnTo>
                        <a:pt x="1795" y="434"/>
                      </a:lnTo>
                      <a:lnTo>
                        <a:pt x="1491" y="17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9" name="Freeform 298"/>
                <p:cNvSpPr>
                  <a:spLocks noEditPoints="1"/>
                </p:cNvSpPr>
                <p:nvPr/>
              </p:nvSpPr>
              <p:spPr bwMode="auto">
                <a:xfrm>
                  <a:off x="1412847" y="3629589"/>
                  <a:ext cx="264502" cy="621843"/>
                </a:xfrm>
                <a:custGeom>
                  <a:avLst/>
                  <a:gdLst>
                    <a:gd name="T0" fmla="*/ 2147483647 w 1262"/>
                    <a:gd name="T1" fmla="*/ 2147483647 h 2958"/>
                    <a:gd name="T2" fmla="*/ 2147483647 w 1262"/>
                    <a:gd name="T3" fmla="*/ 2147483647 h 2958"/>
                    <a:gd name="T4" fmla="*/ 2147483647 w 1262"/>
                    <a:gd name="T5" fmla="*/ 2147483647 h 2958"/>
                    <a:gd name="T6" fmla="*/ 2147483647 w 1262"/>
                    <a:gd name="T7" fmla="*/ 2147483647 h 2958"/>
                    <a:gd name="T8" fmla="*/ 2147483647 w 1262"/>
                    <a:gd name="T9" fmla="*/ 2147483647 h 2958"/>
                    <a:gd name="T10" fmla="*/ 2147483647 w 1262"/>
                    <a:gd name="T11" fmla="*/ 2147483647 h 2958"/>
                    <a:gd name="T12" fmla="*/ 2147483647 w 1262"/>
                    <a:gd name="T13" fmla="*/ 2147483647 h 2958"/>
                    <a:gd name="T14" fmla="*/ 2147483647 w 1262"/>
                    <a:gd name="T15" fmla="*/ 2147483647 h 2958"/>
                    <a:gd name="T16" fmla="*/ 2147483647 w 1262"/>
                    <a:gd name="T17" fmla="*/ 2147483647 h 2958"/>
                    <a:gd name="T18" fmla="*/ 2147483647 w 1262"/>
                    <a:gd name="T19" fmla="*/ 2147483647 h 2958"/>
                    <a:gd name="T20" fmla="*/ 2147483647 w 1262"/>
                    <a:gd name="T21" fmla="*/ 2147483647 h 2958"/>
                    <a:gd name="T22" fmla="*/ 2147483647 w 1262"/>
                    <a:gd name="T23" fmla="*/ 2147483647 h 2958"/>
                    <a:gd name="T24" fmla="*/ 2147483647 w 1262"/>
                    <a:gd name="T25" fmla="*/ 2147483647 h 2958"/>
                    <a:gd name="T26" fmla="*/ 2147483647 w 1262"/>
                    <a:gd name="T27" fmla="*/ 2147483647 h 2958"/>
                    <a:gd name="T28" fmla="*/ 2147483647 w 1262"/>
                    <a:gd name="T29" fmla="*/ 2147483647 h 2958"/>
                    <a:gd name="T30" fmla="*/ 2147483647 w 1262"/>
                    <a:gd name="T31" fmla="*/ 2147483647 h 2958"/>
                    <a:gd name="T32" fmla="*/ 2147483647 w 1262"/>
                    <a:gd name="T33" fmla="*/ 2147483647 h 2958"/>
                    <a:gd name="T34" fmla="*/ 2147483647 w 1262"/>
                    <a:gd name="T35" fmla="*/ 2147483647 h 2958"/>
                    <a:gd name="T36" fmla="*/ 2147483647 w 1262"/>
                    <a:gd name="T37" fmla="*/ 2147483647 h 2958"/>
                    <a:gd name="T38" fmla="*/ 2147483647 w 1262"/>
                    <a:gd name="T39" fmla="*/ 2147483647 h 2958"/>
                    <a:gd name="T40" fmla="*/ 2147483647 w 1262"/>
                    <a:gd name="T41" fmla="*/ 2147483647 h 2958"/>
                    <a:gd name="T42" fmla="*/ 2147483647 w 1262"/>
                    <a:gd name="T43" fmla="*/ 2147483647 h 2958"/>
                    <a:gd name="T44" fmla="*/ 2147483647 w 1262"/>
                    <a:gd name="T45" fmla="*/ 2147483647 h 2958"/>
                    <a:gd name="T46" fmla="*/ 2147483647 w 1262"/>
                    <a:gd name="T47" fmla="*/ 2147483647 h 2958"/>
                    <a:gd name="T48" fmla="*/ 2147483647 w 1262"/>
                    <a:gd name="T49" fmla="*/ 2147483647 h 2958"/>
                    <a:gd name="T50" fmla="*/ 2147483647 w 1262"/>
                    <a:gd name="T51" fmla="*/ 2147483647 h 2958"/>
                    <a:gd name="T52" fmla="*/ 2147483647 w 1262"/>
                    <a:gd name="T53" fmla="*/ 2147483647 h 2958"/>
                    <a:gd name="T54" fmla="*/ 2147483647 w 1262"/>
                    <a:gd name="T55" fmla="*/ 2147483647 h 2958"/>
                    <a:gd name="T56" fmla="*/ 2147483647 w 1262"/>
                    <a:gd name="T57" fmla="*/ 2147483647 h 2958"/>
                    <a:gd name="T58" fmla="*/ 2147483647 w 1262"/>
                    <a:gd name="T59" fmla="*/ 2147483647 h 2958"/>
                    <a:gd name="T60" fmla="*/ 2147483647 w 1262"/>
                    <a:gd name="T61" fmla="*/ 2147483647 h 2958"/>
                    <a:gd name="T62" fmla="*/ 2147483647 w 1262"/>
                    <a:gd name="T63" fmla="*/ 2147483647 h 2958"/>
                    <a:gd name="T64" fmla="*/ 2147483647 w 1262"/>
                    <a:gd name="T65" fmla="*/ 2147483647 h 2958"/>
                    <a:gd name="T66" fmla="*/ 2147483647 w 1262"/>
                    <a:gd name="T67" fmla="*/ 2147483647 h 2958"/>
                    <a:gd name="T68" fmla="*/ 2147483647 w 1262"/>
                    <a:gd name="T69" fmla="*/ 2147483647 h 2958"/>
                    <a:gd name="T70" fmla="*/ 2147483647 w 1262"/>
                    <a:gd name="T71" fmla="*/ 2147483647 h 2958"/>
                    <a:gd name="T72" fmla="*/ 2147483647 w 1262"/>
                    <a:gd name="T73" fmla="*/ 2147483647 h 2958"/>
                    <a:gd name="T74" fmla="*/ 2147483647 w 1262"/>
                    <a:gd name="T75" fmla="*/ 2147483647 h 2958"/>
                    <a:gd name="T76" fmla="*/ 2147483647 w 1262"/>
                    <a:gd name="T77" fmla="*/ 2147483647 h 2958"/>
                    <a:gd name="T78" fmla="*/ 2147483647 w 1262"/>
                    <a:gd name="T79" fmla="*/ 2147483647 h 2958"/>
                    <a:gd name="T80" fmla="*/ 2147483647 w 1262"/>
                    <a:gd name="T81" fmla="*/ 2147483647 h 2958"/>
                    <a:gd name="T82" fmla="*/ 2147483647 w 1262"/>
                    <a:gd name="T83" fmla="*/ 2147483647 h 2958"/>
                    <a:gd name="T84" fmla="*/ 2147483647 w 1262"/>
                    <a:gd name="T85" fmla="*/ 2147483647 h 2958"/>
                    <a:gd name="T86" fmla="*/ 2147483647 w 1262"/>
                    <a:gd name="T87" fmla="*/ 2147483647 h 2958"/>
                    <a:gd name="T88" fmla="*/ 2147483647 w 1262"/>
                    <a:gd name="T89" fmla="*/ 2147483647 h 2958"/>
                    <a:gd name="T90" fmla="*/ 2147483647 w 1262"/>
                    <a:gd name="T91" fmla="*/ 2147483647 h 2958"/>
                    <a:gd name="T92" fmla="*/ 2147483647 w 1262"/>
                    <a:gd name="T93" fmla="*/ 2147483647 h 2958"/>
                    <a:gd name="T94" fmla="*/ 2147483647 w 1262"/>
                    <a:gd name="T95" fmla="*/ 2147483647 h 2958"/>
                    <a:gd name="T96" fmla="*/ 2147483647 w 1262"/>
                    <a:gd name="T97" fmla="*/ 2147483647 h 2958"/>
                    <a:gd name="T98" fmla="*/ 2147483647 w 1262"/>
                    <a:gd name="T99" fmla="*/ 2147483647 h 2958"/>
                    <a:gd name="T100" fmla="*/ 2147483647 w 1262"/>
                    <a:gd name="T101" fmla="*/ 0 h 2958"/>
                    <a:gd name="T102" fmla="*/ 2147483647 w 1262"/>
                    <a:gd name="T103" fmla="*/ 2147483647 h 2958"/>
                    <a:gd name="T104" fmla="*/ 2147483647 w 1262"/>
                    <a:gd name="T105" fmla="*/ 2147483647 h 295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262" h="2958">
                      <a:moveTo>
                        <a:pt x="7" y="2908"/>
                      </a:moveTo>
                      <a:lnTo>
                        <a:pt x="183" y="2476"/>
                      </a:lnTo>
                      <a:cubicBezTo>
                        <a:pt x="190" y="2459"/>
                        <a:pt x="209" y="2450"/>
                        <a:pt x="226" y="2457"/>
                      </a:cubicBezTo>
                      <a:cubicBezTo>
                        <a:pt x="243" y="2464"/>
                        <a:pt x="251" y="2484"/>
                        <a:pt x="244" y="2501"/>
                      </a:cubicBezTo>
                      <a:lnTo>
                        <a:pt x="68" y="2933"/>
                      </a:lnTo>
                      <a:cubicBezTo>
                        <a:pt x="61" y="2950"/>
                        <a:pt x="42" y="2958"/>
                        <a:pt x="25" y="2951"/>
                      </a:cubicBezTo>
                      <a:cubicBezTo>
                        <a:pt x="8" y="2944"/>
                        <a:pt x="0" y="2925"/>
                        <a:pt x="7" y="2908"/>
                      </a:cubicBezTo>
                      <a:close/>
                      <a:moveTo>
                        <a:pt x="283" y="2229"/>
                      </a:moveTo>
                      <a:lnTo>
                        <a:pt x="283" y="2229"/>
                      </a:lnTo>
                      <a:cubicBezTo>
                        <a:pt x="290" y="2212"/>
                        <a:pt x="309" y="2204"/>
                        <a:pt x="327" y="2210"/>
                      </a:cubicBezTo>
                      <a:cubicBezTo>
                        <a:pt x="344" y="2217"/>
                        <a:pt x="352" y="2237"/>
                        <a:pt x="345" y="2254"/>
                      </a:cubicBezTo>
                      <a:cubicBezTo>
                        <a:pt x="338" y="2271"/>
                        <a:pt x="319" y="2279"/>
                        <a:pt x="302" y="2272"/>
                      </a:cubicBezTo>
                      <a:cubicBezTo>
                        <a:pt x="285" y="2266"/>
                        <a:pt x="276" y="2246"/>
                        <a:pt x="283" y="2229"/>
                      </a:cubicBezTo>
                      <a:close/>
                      <a:moveTo>
                        <a:pt x="384" y="1982"/>
                      </a:moveTo>
                      <a:lnTo>
                        <a:pt x="384" y="1982"/>
                      </a:lnTo>
                      <a:cubicBezTo>
                        <a:pt x="391" y="1965"/>
                        <a:pt x="410" y="1957"/>
                        <a:pt x="427" y="1963"/>
                      </a:cubicBezTo>
                      <a:cubicBezTo>
                        <a:pt x="444" y="1970"/>
                        <a:pt x="453" y="1990"/>
                        <a:pt x="446" y="2007"/>
                      </a:cubicBezTo>
                      <a:cubicBezTo>
                        <a:pt x="439" y="2024"/>
                        <a:pt x="420" y="2032"/>
                        <a:pt x="403" y="2025"/>
                      </a:cubicBezTo>
                      <a:cubicBezTo>
                        <a:pt x="385" y="2019"/>
                        <a:pt x="377" y="1999"/>
                        <a:pt x="384" y="1982"/>
                      </a:cubicBezTo>
                      <a:close/>
                      <a:moveTo>
                        <a:pt x="485" y="1735"/>
                      </a:moveTo>
                      <a:lnTo>
                        <a:pt x="661" y="1303"/>
                      </a:lnTo>
                      <a:cubicBezTo>
                        <a:pt x="668" y="1286"/>
                        <a:pt x="687" y="1277"/>
                        <a:pt x="704" y="1284"/>
                      </a:cubicBezTo>
                      <a:cubicBezTo>
                        <a:pt x="721" y="1291"/>
                        <a:pt x="729" y="1311"/>
                        <a:pt x="723" y="1328"/>
                      </a:cubicBezTo>
                      <a:lnTo>
                        <a:pt x="546" y="1760"/>
                      </a:lnTo>
                      <a:cubicBezTo>
                        <a:pt x="539" y="1777"/>
                        <a:pt x="520" y="1785"/>
                        <a:pt x="503" y="1778"/>
                      </a:cubicBezTo>
                      <a:cubicBezTo>
                        <a:pt x="486" y="1771"/>
                        <a:pt x="478" y="1752"/>
                        <a:pt x="485" y="1735"/>
                      </a:cubicBezTo>
                      <a:close/>
                      <a:moveTo>
                        <a:pt x="761" y="1056"/>
                      </a:moveTo>
                      <a:lnTo>
                        <a:pt x="761" y="1056"/>
                      </a:lnTo>
                      <a:cubicBezTo>
                        <a:pt x="768" y="1039"/>
                        <a:pt x="788" y="1030"/>
                        <a:pt x="805" y="1037"/>
                      </a:cubicBezTo>
                      <a:cubicBezTo>
                        <a:pt x="822" y="1044"/>
                        <a:pt x="830" y="1063"/>
                        <a:pt x="823" y="1081"/>
                      </a:cubicBezTo>
                      <a:cubicBezTo>
                        <a:pt x="816" y="1098"/>
                        <a:pt x="797" y="1106"/>
                        <a:pt x="780" y="1099"/>
                      </a:cubicBezTo>
                      <a:cubicBezTo>
                        <a:pt x="763" y="1092"/>
                        <a:pt x="755" y="1073"/>
                        <a:pt x="761" y="1056"/>
                      </a:cubicBezTo>
                      <a:close/>
                      <a:moveTo>
                        <a:pt x="862" y="809"/>
                      </a:moveTo>
                      <a:lnTo>
                        <a:pt x="862" y="809"/>
                      </a:lnTo>
                      <a:cubicBezTo>
                        <a:pt x="869" y="792"/>
                        <a:pt x="888" y="783"/>
                        <a:pt x="905" y="790"/>
                      </a:cubicBezTo>
                      <a:cubicBezTo>
                        <a:pt x="922" y="797"/>
                        <a:pt x="931" y="816"/>
                        <a:pt x="924" y="834"/>
                      </a:cubicBezTo>
                      <a:cubicBezTo>
                        <a:pt x="917" y="851"/>
                        <a:pt x="898" y="859"/>
                        <a:pt x="881" y="852"/>
                      </a:cubicBezTo>
                      <a:cubicBezTo>
                        <a:pt x="864" y="845"/>
                        <a:pt x="855" y="826"/>
                        <a:pt x="862" y="809"/>
                      </a:cubicBezTo>
                      <a:close/>
                      <a:moveTo>
                        <a:pt x="963" y="562"/>
                      </a:moveTo>
                      <a:lnTo>
                        <a:pt x="1071" y="297"/>
                      </a:lnTo>
                      <a:cubicBezTo>
                        <a:pt x="1078" y="280"/>
                        <a:pt x="1097" y="271"/>
                        <a:pt x="1114" y="278"/>
                      </a:cubicBezTo>
                      <a:cubicBezTo>
                        <a:pt x="1131" y="285"/>
                        <a:pt x="1139" y="305"/>
                        <a:pt x="1133" y="322"/>
                      </a:cubicBezTo>
                      <a:lnTo>
                        <a:pt x="1025" y="587"/>
                      </a:lnTo>
                      <a:cubicBezTo>
                        <a:pt x="1018" y="604"/>
                        <a:pt x="998" y="612"/>
                        <a:pt x="981" y="605"/>
                      </a:cubicBezTo>
                      <a:cubicBezTo>
                        <a:pt x="964" y="598"/>
                        <a:pt x="956" y="579"/>
                        <a:pt x="963" y="562"/>
                      </a:cubicBezTo>
                      <a:close/>
                      <a:moveTo>
                        <a:pt x="891" y="295"/>
                      </a:moveTo>
                      <a:lnTo>
                        <a:pt x="1227" y="0"/>
                      </a:lnTo>
                      <a:lnTo>
                        <a:pt x="1262" y="446"/>
                      </a:lnTo>
                      <a:lnTo>
                        <a:pt x="891" y="29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00" name="Freeform 299"/>
                <p:cNvSpPr>
                  <a:spLocks noEditPoints="1"/>
                </p:cNvSpPr>
                <p:nvPr/>
              </p:nvSpPr>
              <p:spPr bwMode="auto">
                <a:xfrm>
                  <a:off x="1407592" y="2925417"/>
                  <a:ext cx="155899" cy="1341779"/>
                </a:xfrm>
                <a:custGeom>
                  <a:avLst/>
                  <a:gdLst>
                    <a:gd name="T0" fmla="*/ 2147483647 w 741"/>
                    <a:gd name="T1" fmla="*/ 2147483647 h 6382"/>
                    <a:gd name="T2" fmla="*/ 2147483647 w 741"/>
                    <a:gd name="T3" fmla="*/ 2147483647 h 6382"/>
                    <a:gd name="T4" fmla="*/ 2147483647 w 741"/>
                    <a:gd name="T5" fmla="*/ 2147483647 h 6382"/>
                    <a:gd name="T6" fmla="*/ 2147483647 w 741"/>
                    <a:gd name="T7" fmla="*/ 2147483647 h 6382"/>
                    <a:gd name="T8" fmla="*/ 2147483647 w 741"/>
                    <a:gd name="T9" fmla="*/ 2147483647 h 6382"/>
                    <a:gd name="T10" fmla="*/ 2147483647 w 741"/>
                    <a:gd name="T11" fmla="*/ 2147483647 h 6382"/>
                    <a:gd name="T12" fmla="*/ 2147483647 w 741"/>
                    <a:gd name="T13" fmla="*/ 2147483647 h 6382"/>
                    <a:gd name="T14" fmla="*/ 2147483647 w 741"/>
                    <a:gd name="T15" fmla="*/ 2147483647 h 6382"/>
                    <a:gd name="T16" fmla="*/ 2147483647 w 741"/>
                    <a:gd name="T17" fmla="*/ 2147483647 h 6382"/>
                    <a:gd name="T18" fmla="*/ 2147483647 w 741"/>
                    <a:gd name="T19" fmla="*/ 2147483647 h 6382"/>
                    <a:gd name="T20" fmla="*/ 2147483647 w 741"/>
                    <a:gd name="T21" fmla="*/ 2147483647 h 6382"/>
                    <a:gd name="T22" fmla="*/ 2147483647 w 741"/>
                    <a:gd name="T23" fmla="*/ 2147483647 h 6382"/>
                    <a:gd name="T24" fmla="*/ 2147483647 w 741"/>
                    <a:gd name="T25" fmla="*/ 2147483647 h 6382"/>
                    <a:gd name="T26" fmla="*/ 2147483647 w 741"/>
                    <a:gd name="T27" fmla="*/ 2147483647 h 6382"/>
                    <a:gd name="T28" fmla="*/ 2147483647 w 741"/>
                    <a:gd name="T29" fmla="*/ 2147483647 h 6382"/>
                    <a:gd name="T30" fmla="*/ 2147483647 w 741"/>
                    <a:gd name="T31" fmla="*/ 2147483647 h 6382"/>
                    <a:gd name="T32" fmla="*/ 2147483647 w 741"/>
                    <a:gd name="T33" fmla="*/ 2147483647 h 6382"/>
                    <a:gd name="T34" fmla="*/ 2147483647 w 741"/>
                    <a:gd name="T35" fmla="*/ 2147483647 h 6382"/>
                    <a:gd name="T36" fmla="*/ 2147483647 w 741"/>
                    <a:gd name="T37" fmla="*/ 2147483647 h 6382"/>
                    <a:gd name="T38" fmla="*/ 2147483647 w 741"/>
                    <a:gd name="T39" fmla="*/ 2147483647 h 6382"/>
                    <a:gd name="T40" fmla="*/ 2147483647 w 741"/>
                    <a:gd name="T41" fmla="*/ 2147483647 h 6382"/>
                    <a:gd name="T42" fmla="*/ 2147483647 w 741"/>
                    <a:gd name="T43" fmla="*/ 2147483647 h 6382"/>
                    <a:gd name="T44" fmla="*/ 2147483647 w 741"/>
                    <a:gd name="T45" fmla="*/ 2147483647 h 6382"/>
                    <a:gd name="T46" fmla="*/ 2147483647 w 741"/>
                    <a:gd name="T47" fmla="*/ 2147483647 h 6382"/>
                    <a:gd name="T48" fmla="*/ 2147483647 w 741"/>
                    <a:gd name="T49" fmla="*/ 2147483647 h 6382"/>
                    <a:gd name="T50" fmla="*/ 2147483647 w 741"/>
                    <a:gd name="T51" fmla="*/ 2147483647 h 6382"/>
                    <a:gd name="T52" fmla="*/ 2147483647 w 741"/>
                    <a:gd name="T53" fmla="*/ 2147483647 h 6382"/>
                    <a:gd name="T54" fmla="*/ 2147483647 w 741"/>
                    <a:gd name="T55" fmla="*/ 2147483647 h 6382"/>
                    <a:gd name="T56" fmla="*/ 2147483647 w 741"/>
                    <a:gd name="T57" fmla="*/ 2147483647 h 6382"/>
                    <a:gd name="T58" fmla="*/ 2147483647 w 741"/>
                    <a:gd name="T59" fmla="*/ 2147483647 h 6382"/>
                    <a:gd name="T60" fmla="*/ 2147483647 w 741"/>
                    <a:gd name="T61" fmla="*/ 2147483647 h 6382"/>
                    <a:gd name="T62" fmla="*/ 2147483647 w 741"/>
                    <a:gd name="T63" fmla="*/ 2147483647 h 6382"/>
                    <a:gd name="T64" fmla="*/ 2147483647 w 741"/>
                    <a:gd name="T65" fmla="*/ 2147483647 h 6382"/>
                    <a:gd name="T66" fmla="*/ 2147483647 w 741"/>
                    <a:gd name="T67" fmla="*/ 2147483647 h 6382"/>
                    <a:gd name="T68" fmla="*/ 2147483647 w 741"/>
                    <a:gd name="T69" fmla="*/ 2147483647 h 6382"/>
                    <a:gd name="T70" fmla="*/ 2147483647 w 741"/>
                    <a:gd name="T71" fmla="*/ 2147483647 h 6382"/>
                    <a:gd name="T72" fmla="*/ 2147483647 w 741"/>
                    <a:gd name="T73" fmla="*/ 2147483647 h 6382"/>
                    <a:gd name="T74" fmla="*/ 2147483647 w 741"/>
                    <a:gd name="T75" fmla="*/ 2147483647 h 6382"/>
                    <a:gd name="T76" fmla="*/ 2147483647 w 741"/>
                    <a:gd name="T77" fmla="*/ 2147483647 h 6382"/>
                    <a:gd name="T78" fmla="*/ 2147483647 w 741"/>
                    <a:gd name="T79" fmla="*/ 2147483647 h 6382"/>
                    <a:gd name="T80" fmla="*/ 2147483647 w 741"/>
                    <a:gd name="T81" fmla="*/ 2147483647 h 6382"/>
                    <a:gd name="T82" fmla="*/ 2147483647 w 741"/>
                    <a:gd name="T83" fmla="*/ 2147483647 h 6382"/>
                    <a:gd name="T84" fmla="*/ 2147483647 w 741"/>
                    <a:gd name="T85" fmla="*/ 2147483647 h 6382"/>
                    <a:gd name="T86" fmla="*/ 2147483647 w 741"/>
                    <a:gd name="T87" fmla="*/ 2147483647 h 6382"/>
                    <a:gd name="T88" fmla="*/ 2147483647 w 741"/>
                    <a:gd name="T89" fmla="*/ 2147483647 h 6382"/>
                    <a:gd name="T90" fmla="*/ 2147483647 w 741"/>
                    <a:gd name="T91" fmla="*/ 2147483647 h 6382"/>
                    <a:gd name="T92" fmla="*/ 2147483647 w 741"/>
                    <a:gd name="T93" fmla="*/ 2147483647 h 6382"/>
                    <a:gd name="T94" fmla="*/ 2147483647 w 741"/>
                    <a:gd name="T95" fmla="*/ 2147483647 h 6382"/>
                    <a:gd name="T96" fmla="*/ 2147483647 w 741"/>
                    <a:gd name="T97" fmla="*/ 2147483647 h 6382"/>
                    <a:gd name="T98" fmla="*/ 2147483647 w 741"/>
                    <a:gd name="T99" fmla="*/ 0 h 6382"/>
                    <a:gd name="T100" fmla="*/ 2147483647 w 741"/>
                    <a:gd name="T101" fmla="*/ 2147483647 h 6382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741" h="6382">
                      <a:moveTo>
                        <a:pt x="2" y="6344"/>
                      </a:moveTo>
                      <a:lnTo>
                        <a:pt x="41" y="5879"/>
                      </a:lnTo>
                      <a:cubicBezTo>
                        <a:pt x="43" y="5861"/>
                        <a:pt x="59" y="5847"/>
                        <a:pt x="78" y="5849"/>
                      </a:cubicBezTo>
                      <a:cubicBezTo>
                        <a:pt x="96" y="5850"/>
                        <a:pt x="109" y="5867"/>
                        <a:pt x="108" y="5885"/>
                      </a:cubicBezTo>
                      <a:lnTo>
                        <a:pt x="68" y="6350"/>
                      </a:lnTo>
                      <a:cubicBezTo>
                        <a:pt x="67" y="6368"/>
                        <a:pt x="51" y="6382"/>
                        <a:pt x="32" y="6380"/>
                      </a:cubicBezTo>
                      <a:cubicBezTo>
                        <a:pt x="14" y="6379"/>
                        <a:pt x="0" y="6363"/>
                        <a:pt x="2" y="6344"/>
                      </a:cubicBezTo>
                      <a:close/>
                      <a:moveTo>
                        <a:pt x="64" y="5614"/>
                      </a:moveTo>
                      <a:lnTo>
                        <a:pt x="64" y="5614"/>
                      </a:lnTo>
                      <a:cubicBezTo>
                        <a:pt x="66" y="5595"/>
                        <a:pt x="82" y="5582"/>
                        <a:pt x="100" y="5583"/>
                      </a:cubicBezTo>
                      <a:cubicBezTo>
                        <a:pt x="118" y="5585"/>
                        <a:pt x="132" y="5601"/>
                        <a:pt x="131" y="5619"/>
                      </a:cubicBezTo>
                      <a:cubicBezTo>
                        <a:pt x="129" y="5637"/>
                        <a:pt x="113" y="5651"/>
                        <a:pt x="95" y="5650"/>
                      </a:cubicBezTo>
                      <a:cubicBezTo>
                        <a:pt x="76" y="5648"/>
                        <a:pt x="63" y="5632"/>
                        <a:pt x="64" y="5614"/>
                      </a:cubicBezTo>
                      <a:close/>
                      <a:moveTo>
                        <a:pt x="87" y="5348"/>
                      </a:moveTo>
                      <a:lnTo>
                        <a:pt x="87" y="5348"/>
                      </a:lnTo>
                      <a:cubicBezTo>
                        <a:pt x="88" y="5330"/>
                        <a:pt x="104" y="5316"/>
                        <a:pt x="123" y="5317"/>
                      </a:cubicBezTo>
                      <a:cubicBezTo>
                        <a:pt x="141" y="5319"/>
                        <a:pt x="155" y="5335"/>
                        <a:pt x="153" y="5353"/>
                      </a:cubicBezTo>
                      <a:cubicBezTo>
                        <a:pt x="152" y="5372"/>
                        <a:pt x="136" y="5385"/>
                        <a:pt x="117" y="5384"/>
                      </a:cubicBezTo>
                      <a:cubicBezTo>
                        <a:pt x="99" y="5382"/>
                        <a:pt x="85" y="5366"/>
                        <a:pt x="87" y="5348"/>
                      </a:cubicBezTo>
                      <a:close/>
                      <a:moveTo>
                        <a:pt x="109" y="5082"/>
                      </a:moveTo>
                      <a:lnTo>
                        <a:pt x="149" y="4617"/>
                      </a:lnTo>
                      <a:cubicBezTo>
                        <a:pt x="150" y="4599"/>
                        <a:pt x="167" y="4585"/>
                        <a:pt x="185" y="4587"/>
                      </a:cubicBezTo>
                      <a:cubicBezTo>
                        <a:pt x="203" y="4588"/>
                        <a:pt x="217" y="4604"/>
                        <a:pt x="215" y="4623"/>
                      </a:cubicBezTo>
                      <a:lnTo>
                        <a:pt x="176" y="5088"/>
                      </a:lnTo>
                      <a:cubicBezTo>
                        <a:pt x="174" y="5106"/>
                        <a:pt x="158" y="5120"/>
                        <a:pt x="140" y="5118"/>
                      </a:cubicBezTo>
                      <a:cubicBezTo>
                        <a:pt x="121" y="5117"/>
                        <a:pt x="108" y="5100"/>
                        <a:pt x="109" y="5082"/>
                      </a:cubicBezTo>
                      <a:close/>
                      <a:moveTo>
                        <a:pt x="171" y="4352"/>
                      </a:moveTo>
                      <a:lnTo>
                        <a:pt x="171" y="4352"/>
                      </a:lnTo>
                      <a:cubicBezTo>
                        <a:pt x="173" y="4333"/>
                        <a:pt x="189" y="4319"/>
                        <a:pt x="207" y="4321"/>
                      </a:cubicBezTo>
                      <a:cubicBezTo>
                        <a:pt x="226" y="4322"/>
                        <a:pt x="239" y="4338"/>
                        <a:pt x="238" y="4357"/>
                      </a:cubicBezTo>
                      <a:cubicBezTo>
                        <a:pt x="236" y="4375"/>
                        <a:pt x="220" y="4389"/>
                        <a:pt x="202" y="4387"/>
                      </a:cubicBezTo>
                      <a:cubicBezTo>
                        <a:pt x="184" y="4386"/>
                        <a:pt x="170" y="4370"/>
                        <a:pt x="171" y="4352"/>
                      </a:cubicBezTo>
                      <a:close/>
                      <a:moveTo>
                        <a:pt x="194" y="4086"/>
                      </a:moveTo>
                      <a:lnTo>
                        <a:pt x="194" y="4086"/>
                      </a:lnTo>
                      <a:cubicBezTo>
                        <a:pt x="196" y="4067"/>
                        <a:pt x="212" y="4054"/>
                        <a:pt x="230" y="4055"/>
                      </a:cubicBezTo>
                      <a:cubicBezTo>
                        <a:pt x="248" y="4057"/>
                        <a:pt x="262" y="4073"/>
                        <a:pt x="261" y="4091"/>
                      </a:cubicBezTo>
                      <a:cubicBezTo>
                        <a:pt x="259" y="4109"/>
                        <a:pt x="243" y="4123"/>
                        <a:pt x="225" y="4122"/>
                      </a:cubicBezTo>
                      <a:cubicBezTo>
                        <a:pt x="206" y="4120"/>
                        <a:pt x="193" y="4104"/>
                        <a:pt x="194" y="4086"/>
                      </a:cubicBezTo>
                      <a:close/>
                      <a:moveTo>
                        <a:pt x="217" y="3820"/>
                      </a:moveTo>
                      <a:lnTo>
                        <a:pt x="256" y="3355"/>
                      </a:lnTo>
                      <a:cubicBezTo>
                        <a:pt x="258" y="3336"/>
                        <a:pt x="274" y="3323"/>
                        <a:pt x="292" y="3324"/>
                      </a:cubicBezTo>
                      <a:cubicBezTo>
                        <a:pt x="311" y="3326"/>
                        <a:pt x="324" y="3342"/>
                        <a:pt x="323" y="3360"/>
                      </a:cubicBezTo>
                      <a:lnTo>
                        <a:pt x="283" y="3825"/>
                      </a:lnTo>
                      <a:cubicBezTo>
                        <a:pt x="282" y="3844"/>
                        <a:pt x="265" y="3857"/>
                        <a:pt x="247" y="3856"/>
                      </a:cubicBezTo>
                      <a:cubicBezTo>
                        <a:pt x="229" y="3854"/>
                        <a:pt x="215" y="3838"/>
                        <a:pt x="217" y="3820"/>
                      </a:cubicBezTo>
                      <a:close/>
                      <a:moveTo>
                        <a:pt x="279" y="3089"/>
                      </a:moveTo>
                      <a:lnTo>
                        <a:pt x="279" y="3089"/>
                      </a:lnTo>
                      <a:cubicBezTo>
                        <a:pt x="280" y="3071"/>
                        <a:pt x="296" y="3057"/>
                        <a:pt x="315" y="3059"/>
                      </a:cubicBezTo>
                      <a:cubicBezTo>
                        <a:pt x="333" y="3060"/>
                        <a:pt x="347" y="3076"/>
                        <a:pt x="345" y="3094"/>
                      </a:cubicBezTo>
                      <a:lnTo>
                        <a:pt x="345" y="3095"/>
                      </a:lnTo>
                      <a:cubicBezTo>
                        <a:pt x="344" y="3113"/>
                        <a:pt x="328" y="3127"/>
                        <a:pt x="309" y="3125"/>
                      </a:cubicBezTo>
                      <a:cubicBezTo>
                        <a:pt x="291" y="3124"/>
                        <a:pt x="277" y="3108"/>
                        <a:pt x="279" y="3089"/>
                      </a:cubicBezTo>
                      <a:close/>
                      <a:moveTo>
                        <a:pt x="301" y="2824"/>
                      </a:moveTo>
                      <a:lnTo>
                        <a:pt x="301" y="2823"/>
                      </a:lnTo>
                      <a:cubicBezTo>
                        <a:pt x="303" y="2805"/>
                        <a:pt x="319" y="2791"/>
                        <a:pt x="337" y="2793"/>
                      </a:cubicBezTo>
                      <a:cubicBezTo>
                        <a:pt x="356" y="2794"/>
                        <a:pt x="369" y="2810"/>
                        <a:pt x="368" y="2829"/>
                      </a:cubicBezTo>
                      <a:cubicBezTo>
                        <a:pt x="366" y="2847"/>
                        <a:pt x="350" y="2861"/>
                        <a:pt x="332" y="2859"/>
                      </a:cubicBezTo>
                      <a:cubicBezTo>
                        <a:pt x="314" y="2858"/>
                        <a:pt x="300" y="2842"/>
                        <a:pt x="301" y="2824"/>
                      </a:cubicBezTo>
                      <a:close/>
                      <a:moveTo>
                        <a:pt x="324" y="2558"/>
                      </a:moveTo>
                      <a:lnTo>
                        <a:pt x="364" y="2093"/>
                      </a:lnTo>
                      <a:cubicBezTo>
                        <a:pt x="365" y="2074"/>
                        <a:pt x="381" y="2061"/>
                        <a:pt x="400" y="2062"/>
                      </a:cubicBezTo>
                      <a:cubicBezTo>
                        <a:pt x="418" y="2064"/>
                        <a:pt x="432" y="2080"/>
                        <a:pt x="430" y="2098"/>
                      </a:cubicBezTo>
                      <a:lnTo>
                        <a:pt x="391" y="2563"/>
                      </a:lnTo>
                      <a:cubicBezTo>
                        <a:pt x="389" y="2582"/>
                        <a:pt x="373" y="2595"/>
                        <a:pt x="354" y="2594"/>
                      </a:cubicBezTo>
                      <a:cubicBezTo>
                        <a:pt x="336" y="2592"/>
                        <a:pt x="323" y="2576"/>
                        <a:pt x="324" y="2558"/>
                      </a:cubicBezTo>
                      <a:close/>
                      <a:moveTo>
                        <a:pt x="386" y="1827"/>
                      </a:moveTo>
                      <a:lnTo>
                        <a:pt x="386" y="1827"/>
                      </a:lnTo>
                      <a:cubicBezTo>
                        <a:pt x="388" y="1809"/>
                        <a:pt x="404" y="1795"/>
                        <a:pt x="422" y="1796"/>
                      </a:cubicBezTo>
                      <a:cubicBezTo>
                        <a:pt x="440" y="1798"/>
                        <a:pt x="454" y="1814"/>
                        <a:pt x="453" y="1832"/>
                      </a:cubicBezTo>
                      <a:cubicBezTo>
                        <a:pt x="451" y="1851"/>
                        <a:pt x="435" y="1864"/>
                        <a:pt x="417" y="1863"/>
                      </a:cubicBezTo>
                      <a:cubicBezTo>
                        <a:pt x="398" y="1861"/>
                        <a:pt x="385" y="1845"/>
                        <a:pt x="386" y="1827"/>
                      </a:cubicBezTo>
                      <a:close/>
                      <a:moveTo>
                        <a:pt x="409" y="1561"/>
                      </a:moveTo>
                      <a:lnTo>
                        <a:pt x="409" y="1561"/>
                      </a:lnTo>
                      <a:cubicBezTo>
                        <a:pt x="410" y="1543"/>
                        <a:pt x="426" y="1529"/>
                        <a:pt x="445" y="1531"/>
                      </a:cubicBezTo>
                      <a:cubicBezTo>
                        <a:pt x="463" y="1532"/>
                        <a:pt x="477" y="1548"/>
                        <a:pt x="475" y="1567"/>
                      </a:cubicBezTo>
                      <a:cubicBezTo>
                        <a:pt x="474" y="1585"/>
                        <a:pt x="458" y="1599"/>
                        <a:pt x="439" y="1597"/>
                      </a:cubicBezTo>
                      <a:cubicBezTo>
                        <a:pt x="421" y="1596"/>
                        <a:pt x="407" y="1580"/>
                        <a:pt x="409" y="1561"/>
                      </a:cubicBezTo>
                      <a:close/>
                      <a:moveTo>
                        <a:pt x="432" y="1295"/>
                      </a:moveTo>
                      <a:lnTo>
                        <a:pt x="471" y="830"/>
                      </a:lnTo>
                      <a:cubicBezTo>
                        <a:pt x="473" y="812"/>
                        <a:pt x="489" y="798"/>
                        <a:pt x="507" y="800"/>
                      </a:cubicBezTo>
                      <a:cubicBezTo>
                        <a:pt x="525" y="802"/>
                        <a:pt x="539" y="818"/>
                        <a:pt x="537" y="836"/>
                      </a:cubicBezTo>
                      <a:lnTo>
                        <a:pt x="498" y="1301"/>
                      </a:lnTo>
                      <a:cubicBezTo>
                        <a:pt x="496" y="1319"/>
                        <a:pt x="480" y="1333"/>
                        <a:pt x="462" y="1331"/>
                      </a:cubicBezTo>
                      <a:cubicBezTo>
                        <a:pt x="444" y="1330"/>
                        <a:pt x="430" y="1314"/>
                        <a:pt x="432" y="1295"/>
                      </a:cubicBezTo>
                      <a:close/>
                      <a:moveTo>
                        <a:pt x="494" y="565"/>
                      </a:moveTo>
                      <a:lnTo>
                        <a:pt x="494" y="565"/>
                      </a:lnTo>
                      <a:cubicBezTo>
                        <a:pt x="495" y="546"/>
                        <a:pt x="511" y="533"/>
                        <a:pt x="530" y="534"/>
                      </a:cubicBezTo>
                      <a:cubicBezTo>
                        <a:pt x="548" y="536"/>
                        <a:pt x="562" y="552"/>
                        <a:pt x="560" y="570"/>
                      </a:cubicBezTo>
                      <a:cubicBezTo>
                        <a:pt x="559" y="588"/>
                        <a:pt x="543" y="602"/>
                        <a:pt x="524" y="601"/>
                      </a:cubicBezTo>
                      <a:cubicBezTo>
                        <a:pt x="506" y="599"/>
                        <a:pt x="492" y="583"/>
                        <a:pt x="494" y="565"/>
                      </a:cubicBezTo>
                      <a:close/>
                      <a:moveTo>
                        <a:pt x="342" y="382"/>
                      </a:moveTo>
                      <a:lnTo>
                        <a:pt x="575" y="0"/>
                      </a:lnTo>
                      <a:lnTo>
                        <a:pt x="741" y="416"/>
                      </a:lnTo>
                      <a:lnTo>
                        <a:pt x="342" y="38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01" name="Freeform 300"/>
                <p:cNvSpPr>
                  <a:spLocks noEditPoints="1"/>
                </p:cNvSpPr>
                <p:nvPr/>
              </p:nvSpPr>
              <p:spPr bwMode="auto">
                <a:xfrm>
                  <a:off x="1418102" y="4116553"/>
                  <a:ext cx="604326" cy="148892"/>
                </a:xfrm>
                <a:custGeom>
                  <a:avLst/>
                  <a:gdLst>
                    <a:gd name="T0" fmla="*/ 2147483647 w 2876"/>
                    <a:gd name="T1" fmla="*/ 2147483647 h 713"/>
                    <a:gd name="T2" fmla="*/ 2147483647 w 2876"/>
                    <a:gd name="T3" fmla="*/ 2147483647 h 713"/>
                    <a:gd name="T4" fmla="*/ 2147483647 w 2876"/>
                    <a:gd name="T5" fmla="*/ 2147483647 h 713"/>
                    <a:gd name="T6" fmla="*/ 2147483647 w 2876"/>
                    <a:gd name="T7" fmla="*/ 2147483647 h 713"/>
                    <a:gd name="T8" fmla="*/ 2147483647 w 2876"/>
                    <a:gd name="T9" fmla="*/ 2147483647 h 713"/>
                    <a:gd name="T10" fmla="*/ 2147483647 w 2876"/>
                    <a:gd name="T11" fmla="*/ 2147483647 h 713"/>
                    <a:gd name="T12" fmla="*/ 2147483647 w 2876"/>
                    <a:gd name="T13" fmla="*/ 2147483647 h 713"/>
                    <a:gd name="T14" fmla="*/ 2147483647 w 2876"/>
                    <a:gd name="T15" fmla="*/ 2147483647 h 713"/>
                    <a:gd name="T16" fmla="*/ 2147483647 w 2876"/>
                    <a:gd name="T17" fmla="*/ 2147483647 h 713"/>
                    <a:gd name="T18" fmla="*/ 2147483647 w 2876"/>
                    <a:gd name="T19" fmla="*/ 2147483647 h 713"/>
                    <a:gd name="T20" fmla="*/ 2147483647 w 2876"/>
                    <a:gd name="T21" fmla="*/ 2147483647 h 713"/>
                    <a:gd name="T22" fmla="*/ 2147483647 w 2876"/>
                    <a:gd name="T23" fmla="*/ 2147483647 h 713"/>
                    <a:gd name="T24" fmla="*/ 2147483647 w 2876"/>
                    <a:gd name="T25" fmla="*/ 2147483647 h 713"/>
                    <a:gd name="T26" fmla="*/ 2147483647 w 2876"/>
                    <a:gd name="T27" fmla="*/ 2147483647 h 713"/>
                    <a:gd name="T28" fmla="*/ 2147483647 w 2876"/>
                    <a:gd name="T29" fmla="*/ 2147483647 h 713"/>
                    <a:gd name="T30" fmla="*/ 2147483647 w 2876"/>
                    <a:gd name="T31" fmla="*/ 2147483647 h 713"/>
                    <a:gd name="T32" fmla="*/ 2147483647 w 2876"/>
                    <a:gd name="T33" fmla="*/ 2147483647 h 713"/>
                    <a:gd name="T34" fmla="*/ 2147483647 w 2876"/>
                    <a:gd name="T35" fmla="*/ 2147483647 h 713"/>
                    <a:gd name="T36" fmla="*/ 2147483647 w 2876"/>
                    <a:gd name="T37" fmla="*/ 2147483647 h 713"/>
                    <a:gd name="T38" fmla="*/ 2147483647 w 2876"/>
                    <a:gd name="T39" fmla="*/ 2147483647 h 713"/>
                    <a:gd name="T40" fmla="*/ 2147483647 w 2876"/>
                    <a:gd name="T41" fmla="*/ 2147483647 h 713"/>
                    <a:gd name="T42" fmla="*/ 2147483647 w 2876"/>
                    <a:gd name="T43" fmla="*/ 2147483647 h 713"/>
                    <a:gd name="T44" fmla="*/ 2147483647 w 2876"/>
                    <a:gd name="T45" fmla="*/ 2147483647 h 713"/>
                    <a:gd name="T46" fmla="*/ 2147483647 w 2876"/>
                    <a:gd name="T47" fmla="*/ 2147483647 h 713"/>
                    <a:gd name="T48" fmla="*/ 2147483647 w 2876"/>
                    <a:gd name="T49" fmla="*/ 2147483647 h 713"/>
                    <a:gd name="T50" fmla="*/ 2147483647 w 2876"/>
                    <a:gd name="T51" fmla="*/ 2147483647 h 713"/>
                    <a:gd name="T52" fmla="*/ 2147483647 w 2876"/>
                    <a:gd name="T53" fmla="*/ 2147483647 h 713"/>
                    <a:gd name="T54" fmla="*/ 2147483647 w 2876"/>
                    <a:gd name="T55" fmla="*/ 2147483647 h 713"/>
                    <a:gd name="T56" fmla="*/ 2147483647 w 2876"/>
                    <a:gd name="T57" fmla="*/ 2147483647 h 713"/>
                    <a:gd name="T58" fmla="*/ 2147483647 w 2876"/>
                    <a:gd name="T59" fmla="*/ 2147483647 h 713"/>
                    <a:gd name="T60" fmla="*/ 2147483647 w 2876"/>
                    <a:gd name="T61" fmla="*/ 2147483647 h 713"/>
                    <a:gd name="T62" fmla="*/ 2147483647 w 2876"/>
                    <a:gd name="T63" fmla="*/ 2147483647 h 713"/>
                    <a:gd name="T64" fmla="*/ 2147483647 w 2876"/>
                    <a:gd name="T65" fmla="*/ 2147483647 h 713"/>
                    <a:gd name="T66" fmla="*/ 2147483647 w 2876"/>
                    <a:gd name="T67" fmla="*/ 2147483647 h 713"/>
                    <a:gd name="T68" fmla="*/ 2147483647 w 2876"/>
                    <a:gd name="T69" fmla="*/ 2147483647 h 713"/>
                    <a:gd name="T70" fmla="*/ 2147483647 w 2876"/>
                    <a:gd name="T71" fmla="*/ 2147483647 h 713"/>
                    <a:gd name="T72" fmla="*/ 2147483647 w 2876"/>
                    <a:gd name="T73" fmla="*/ 2147483647 h 713"/>
                    <a:gd name="T74" fmla="*/ 2147483647 w 2876"/>
                    <a:gd name="T75" fmla="*/ 2147483647 h 713"/>
                    <a:gd name="T76" fmla="*/ 2147483647 w 2876"/>
                    <a:gd name="T77" fmla="*/ 2147483647 h 713"/>
                    <a:gd name="T78" fmla="*/ 2147483647 w 2876"/>
                    <a:gd name="T79" fmla="*/ 2147483647 h 713"/>
                    <a:gd name="T80" fmla="*/ 2147483647 w 2876"/>
                    <a:gd name="T81" fmla="*/ 2147483647 h 713"/>
                    <a:gd name="T82" fmla="*/ 2147483647 w 2876"/>
                    <a:gd name="T83" fmla="*/ 2147483647 h 713"/>
                    <a:gd name="T84" fmla="*/ 2147483647 w 2876"/>
                    <a:gd name="T85" fmla="*/ 2147483647 h 713"/>
                    <a:gd name="T86" fmla="*/ 2147483647 w 2876"/>
                    <a:gd name="T87" fmla="*/ 2147483647 h 713"/>
                    <a:gd name="T88" fmla="*/ 2147483647 w 2876"/>
                    <a:gd name="T89" fmla="*/ 2147483647 h 713"/>
                    <a:gd name="T90" fmla="*/ 2147483647 w 2876"/>
                    <a:gd name="T91" fmla="*/ 2147483647 h 713"/>
                    <a:gd name="T92" fmla="*/ 2147483647 w 2876"/>
                    <a:gd name="T93" fmla="*/ 2147483647 h 713"/>
                    <a:gd name="T94" fmla="*/ 2147483647 w 2876"/>
                    <a:gd name="T95" fmla="*/ 2147483647 h 713"/>
                    <a:gd name="T96" fmla="*/ 2147483647 w 2876"/>
                    <a:gd name="T97" fmla="*/ 2147483647 h 713"/>
                    <a:gd name="T98" fmla="*/ 2147483647 w 2876"/>
                    <a:gd name="T99" fmla="*/ 0 h 713"/>
                    <a:gd name="T100" fmla="*/ 2147483647 w 2876"/>
                    <a:gd name="T101" fmla="*/ 2147483647 h 713"/>
                    <a:gd name="T102" fmla="*/ 2147483647 w 2876"/>
                    <a:gd name="T103" fmla="*/ 2147483647 h 713"/>
                    <a:gd name="T104" fmla="*/ 2147483647 w 2876"/>
                    <a:gd name="T105" fmla="*/ 0 h 713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876" h="713">
                      <a:moveTo>
                        <a:pt x="29" y="644"/>
                      </a:moveTo>
                      <a:lnTo>
                        <a:pt x="487" y="554"/>
                      </a:lnTo>
                      <a:cubicBezTo>
                        <a:pt x="505" y="550"/>
                        <a:pt x="523" y="562"/>
                        <a:pt x="526" y="580"/>
                      </a:cubicBezTo>
                      <a:cubicBezTo>
                        <a:pt x="530" y="598"/>
                        <a:pt x="518" y="616"/>
                        <a:pt x="500" y="619"/>
                      </a:cubicBezTo>
                      <a:lnTo>
                        <a:pt x="42" y="709"/>
                      </a:lnTo>
                      <a:cubicBezTo>
                        <a:pt x="24" y="713"/>
                        <a:pt x="7" y="701"/>
                        <a:pt x="3" y="683"/>
                      </a:cubicBezTo>
                      <a:cubicBezTo>
                        <a:pt x="0" y="665"/>
                        <a:pt x="11" y="647"/>
                        <a:pt x="29" y="644"/>
                      </a:cubicBezTo>
                      <a:close/>
                      <a:moveTo>
                        <a:pt x="749" y="503"/>
                      </a:moveTo>
                      <a:lnTo>
                        <a:pt x="749" y="503"/>
                      </a:lnTo>
                      <a:cubicBezTo>
                        <a:pt x="767" y="499"/>
                        <a:pt x="784" y="511"/>
                        <a:pt x="788" y="529"/>
                      </a:cubicBezTo>
                      <a:cubicBezTo>
                        <a:pt x="792" y="547"/>
                        <a:pt x="780" y="564"/>
                        <a:pt x="762" y="568"/>
                      </a:cubicBezTo>
                      <a:cubicBezTo>
                        <a:pt x="744" y="572"/>
                        <a:pt x="727" y="560"/>
                        <a:pt x="723" y="542"/>
                      </a:cubicBezTo>
                      <a:cubicBezTo>
                        <a:pt x="719" y="524"/>
                        <a:pt x="731" y="507"/>
                        <a:pt x="749" y="503"/>
                      </a:cubicBezTo>
                      <a:close/>
                      <a:moveTo>
                        <a:pt x="1010" y="451"/>
                      </a:moveTo>
                      <a:lnTo>
                        <a:pt x="1010" y="451"/>
                      </a:lnTo>
                      <a:cubicBezTo>
                        <a:pt x="1028" y="448"/>
                        <a:pt x="1046" y="459"/>
                        <a:pt x="1050" y="477"/>
                      </a:cubicBezTo>
                      <a:cubicBezTo>
                        <a:pt x="1054" y="495"/>
                        <a:pt x="1042" y="513"/>
                        <a:pt x="1024" y="517"/>
                      </a:cubicBezTo>
                      <a:cubicBezTo>
                        <a:pt x="1006" y="521"/>
                        <a:pt x="988" y="509"/>
                        <a:pt x="985" y="491"/>
                      </a:cubicBezTo>
                      <a:cubicBezTo>
                        <a:pt x="981" y="473"/>
                        <a:pt x="992" y="455"/>
                        <a:pt x="1010" y="451"/>
                      </a:cubicBezTo>
                      <a:close/>
                      <a:moveTo>
                        <a:pt x="1273" y="400"/>
                      </a:moveTo>
                      <a:lnTo>
                        <a:pt x="1730" y="310"/>
                      </a:lnTo>
                      <a:cubicBezTo>
                        <a:pt x="1749" y="307"/>
                        <a:pt x="1766" y="319"/>
                        <a:pt x="1770" y="337"/>
                      </a:cubicBezTo>
                      <a:cubicBezTo>
                        <a:pt x="1773" y="355"/>
                        <a:pt x="1761" y="372"/>
                        <a:pt x="1743" y="376"/>
                      </a:cubicBezTo>
                      <a:lnTo>
                        <a:pt x="1285" y="466"/>
                      </a:lnTo>
                      <a:cubicBezTo>
                        <a:pt x="1267" y="469"/>
                        <a:pt x="1250" y="457"/>
                        <a:pt x="1246" y="439"/>
                      </a:cubicBezTo>
                      <a:cubicBezTo>
                        <a:pt x="1243" y="421"/>
                        <a:pt x="1254" y="404"/>
                        <a:pt x="1273" y="400"/>
                      </a:cubicBezTo>
                      <a:close/>
                      <a:moveTo>
                        <a:pt x="1992" y="259"/>
                      </a:moveTo>
                      <a:lnTo>
                        <a:pt x="1992" y="259"/>
                      </a:lnTo>
                      <a:cubicBezTo>
                        <a:pt x="2010" y="255"/>
                        <a:pt x="2027" y="267"/>
                        <a:pt x="2031" y="285"/>
                      </a:cubicBezTo>
                      <a:cubicBezTo>
                        <a:pt x="2035" y="303"/>
                        <a:pt x="2024" y="321"/>
                        <a:pt x="2006" y="324"/>
                      </a:cubicBezTo>
                      <a:cubicBezTo>
                        <a:pt x="1987" y="328"/>
                        <a:pt x="1970" y="317"/>
                        <a:pt x="1966" y="299"/>
                      </a:cubicBezTo>
                      <a:cubicBezTo>
                        <a:pt x="1962" y="281"/>
                        <a:pt x="1974" y="263"/>
                        <a:pt x="1992" y="259"/>
                      </a:cubicBezTo>
                      <a:close/>
                      <a:moveTo>
                        <a:pt x="2253" y="208"/>
                      </a:moveTo>
                      <a:lnTo>
                        <a:pt x="2253" y="208"/>
                      </a:lnTo>
                      <a:cubicBezTo>
                        <a:pt x="2271" y="204"/>
                        <a:pt x="2289" y="215"/>
                        <a:pt x="2293" y="234"/>
                      </a:cubicBezTo>
                      <a:cubicBezTo>
                        <a:pt x="2297" y="252"/>
                        <a:pt x="2285" y="269"/>
                        <a:pt x="2267" y="273"/>
                      </a:cubicBezTo>
                      <a:cubicBezTo>
                        <a:pt x="2249" y="277"/>
                        <a:pt x="2232" y="265"/>
                        <a:pt x="2228" y="247"/>
                      </a:cubicBezTo>
                      <a:cubicBezTo>
                        <a:pt x="2224" y="229"/>
                        <a:pt x="2235" y="212"/>
                        <a:pt x="2253" y="208"/>
                      </a:cubicBezTo>
                      <a:close/>
                      <a:moveTo>
                        <a:pt x="2516" y="156"/>
                      </a:moveTo>
                      <a:lnTo>
                        <a:pt x="2542" y="151"/>
                      </a:lnTo>
                      <a:cubicBezTo>
                        <a:pt x="2560" y="148"/>
                        <a:pt x="2578" y="159"/>
                        <a:pt x="2581" y="178"/>
                      </a:cubicBezTo>
                      <a:cubicBezTo>
                        <a:pt x="2585" y="196"/>
                        <a:pt x="2573" y="213"/>
                        <a:pt x="2555" y="217"/>
                      </a:cubicBezTo>
                      <a:lnTo>
                        <a:pt x="2529" y="222"/>
                      </a:lnTo>
                      <a:cubicBezTo>
                        <a:pt x="2510" y="225"/>
                        <a:pt x="2493" y="214"/>
                        <a:pt x="2489" y="196"/>
                      </a:cubicBezTo>
                      <a:cubicBezTo>
                        <a:pt x="2486" y="177"/>
                        <a:pt x="2498" y="160"/>
                        <a:pt x="2516" y="156"/>
                      </a:cubicBezTo>
                      <a:close/>
                      <a:moveTo>
                        <a:pt x="2445" y="0"/>
                      </a:moveTo>
                      <a:lnTo>
                        <a:pt x="2876" y="120"/>
                      </a:lnTo>
                      <a:lnTo>
                        <a:pt x="2522" y="393"/>
                      </a:lnTo>
                      <a:lnTo>
                        <a:pt x="244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  <p:grpSp>
          <p:nvGrpSpPr>
            <p:cNvPr id="53" name="Group 52"/>
            <p:cNvGrpSpPr>
              <a:grpSpLocks/>
            </p:cNvGrpSpPr>
            <p:nvPr/>
          </p:nvGrpSpPr>
          <p:grpSpPr bwMode="auto">
            <a:xfrm>
              <a:off x="3827464" y="2324100"/>
              <a:ext cx="1356394" cy="457200"/>
              <a:chOff x="3827463" y="2324100"/>
              <a:chExt cx="1355793" cy="457186"/>
            </a:xfrm>
          </p:grpSpPr>
          <p:grpSp>
            <p:nvGrpSpPr>
              <p:cNvPr id="215" name="Group 214"/>
              <p:cNvGrpSpPr>
                <a:grpSpLocks/>
              </p:cNvGrpSpPr>
              <p:nvPr/>
            </p:nvGrpSpPr>
            <p:grpSpPr bwMode="auto">
              <a:xfrm>
                <a:off x="3827463" y="2324100"/>
                <a:ext cx="1355793" cy="457186"/>
                <a:chOff x="3827463" y="2324100"/>
                <a:chExt cx="774" cy="261"/>
              </a:xfrm>
            </p:grpSpPr>
            <p:sp>
              <p:nvSpPr>
                <p:cNvPr id="217" name="Rectangle 216"/>
                <p:cNvSpPr>
                  <a:spLocks noChangeArrowheads="1"/>
                </p:cNvSpPr>
                <p:nvPr/>
              </p:nvSpPr>
              <p:spPr bwMode="auto">
                <a:xfrm>
                  <a:off x="3827471" y="2324116"/>
                  <a:ext cx="766" cy="245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8" name="Rectangle 217"/>
                <p:cNvSpPr>
                  <a:spLocks noChangeArrowheads="1"/>
                </p:cNvSpPr>
                <p:nvPr/>
              </p:nvSpPr>
              <p:spPr bwMode="auto">
                <a:xfrm>
                  <a:off x="3827463" y="2324100"/>
                  <a:ext cx="766" cy="14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9" name="Rectangle 218"/>
                <p:cNvSpPr>
                  <a:spLocks noChangeArrowheads="1"/>
                </p:cNvSpPr>
                <p:nvPr/>
              </p:nvSpPr>
              <p:spPr bwMode="auto">
                <a:xfrm>
                  <a:off x="3827463" y="2324114"/>
                  <a:ext cx="766" cy="6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0" name="Rectangle 219"/>
                <p:cNvSpPr>
                  <a:spLocks noChangeArrowheads="1"/>
                </p:cNvSpPr>
                <p:nvPr/>
              </p:nvSpPr>
              <p:spPr bwMode="auto">
                <a:xfrm>
                  <a:off x="3827463" y="2324120"/>
                  <a:ext cx="766" cy="5"/>
                </a:xfrm>
                <a:prstGeom prst="rect">
                  <a:avLst/>
                </a:prstGeom>
                <a:solidFill>
                  <a:srgbClr val="FABD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1" name="Rectangle 220"/>
                <p:cNvSpPr>
                  <a:spLocks noChangeArrowheads="1"/>
                </p:cNvSpPr>
                <p:nvPr/>
              </p:nvSpPr>
              <p:spPr bwMode="auto">
                <a:xfrm>
                  <a:off x="3827463" y="2324125"/>
                  <a:ext cx="766" cy="5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2" name="Rectangle 221"/>
                <p:cNvSpPr>
                  <a:spLocks noChangeArrowheads="1"/>
                </p:cNvSpPr>
                <p:nvPr/>
              </p:nvSpPr>
              <p:spPr bwMode="auto">
                <a:xfrm>
                  <a:off x="3827463" y="2324130"/>
                  <a:ext cx="766" cy="6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3" name="Rectangle 222"/>
                <p:cNvSpPr>
                  <a:spLocks noChangeArrowheads="1"/>
                </p:cNvSpPr>
                <p:nvPr/>
              </p:nvSpPr>
              <p:spPr bwMode="auto">
                <a:xfrm>
                  <a:off x="3827463" y="2324136"/>
                  <a:ext cx="766" cy="2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4" name="Rectangle 223"/>
                <p:cNvSpPr>
                  <a:spLocks noChangeArrowheads="1"/>
                </p:cNvSpPr>
                <p:nvPr/>
              </p:nvSpPr>
              <p:spPr bwMode="auto">
                <a:xfrm>
                  <a:off x="3827463" y="2324138"/>
                  <a:ext cx="766" cy="3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5" name="Rectangle 224"/>
                <p:cNvSpPr>
                  <a:spLocks noChangeArrowheads="1"/>
                </p:cNvSpPr>
                <p:nvPr/>
              </p:nvSpPr>
              <p:spPr bwMode="auto">
                <a:xfrm>
                  <a:off x="3827463" y="2324141"/>
                  <a:ext cx="766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6" name="Rectangle 225"/>
                <p:cNvSpPr>
                  <a:spLocks noChangeArrowheads="1"/>
                </p:cNvSpPr>
                <p:nvPr/>
              </p:nvSpPr>
              <p:spPr bwMode="auto">
                <a:xfrm>
                  <a:off x="3827463" y="2324145"/>
                  <a:ext cx="766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7" name="Rectangle 226"/>
                <p:cNvSpPr>
                  <a:spLocks noChangeArrowheads="1"/>
                </p:cNvSpPr>
                <p:nvPr/>
              </p:nvSpPr>
              <p:spPr bwMode="auto">
                <a:xfrm>
                  <a:off x="3827463" y="2324148"/>
                  <a:ext cx="766" cy="2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8" name="Rectangle 227"/>
                <p:cNvSpPr>
                  <a:spLocks noChangeArrowheads="1"/>
                </p:cNvSpPr>
                <p:nvPr/>
              </p:nvSpPr>
              <p:spPr bwMode="auto">
                <a:xfrm>
                  <a:off x="3827463" y="2324150"/>
                  <a:ext cx="766" cy="3"/>
                </a:xfrm>
                <a:prstGeom prst="rect">
                  <a:avLst/>
                </a:prstGeom>
                <a:solidFill>
                  <a:srgbClr val="F9B2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29" name="Rectangle 228"/>
                <p:cNvSpPr>
                  <a:spLocks noChangeArrowheads="1"/>
                </p:cNvSpPr>
                <p:nvPr/>
              </p:nvSpPr>
              <p:spPr bwMode="auto">
                <a:xfrm>
                  <a:off x="3827463" y="2324153"/>
                  <a:ext cx="766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0" name="Rectangle 229"/>
                <p:cNvSpPr>
                  <a:spLocks noChangeArrowheads="1"/>
                </p:cNvSpPr>
                <p:nvPr/>
              </p:nvSpPr>
              <p:spPr bwMode="auto">
                <a:xfrm>
                  <a:off x="3827463" y="2324155"/>
                  <a:ext cx="766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1" name="Rectangle 230"/>
                <p:cNvSpPr>
                  <a:spLocks noChangeArrowheads="1"/>
                </p:cNvSpPr>
                <p:nvPr/>
              </p:nvSpPr>
              <p:spPr bwMode="auto">
                <a:xfrm>
                  <a:off x="3827463" y="2324157"/>
                  <a:ext cx="766" cy="3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2" name="Rectangle 231"/>
                <p:cNvSpPr>
                  <a:spLocks noChangeArrowheads="1"/>
                </p:cNvSpPr>
                <p:nvPr/>
              </p:nvSpPr>
              <p:spPr bwMode="auto">
                <a:xfrm>
                  <a:off x="3827463" y="2324160"/>
                  <a:ext cx="766" cy="2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3" name="Rectangle 232"/>
                <p:cNvSpPr>
                  <a:spLocks noChangeArrowheads="1"/>
                </p:cNvSpPr>
                <p:nvPr/>
              </p:nvSpPr>
              <p:spPr bwMode="auto">
                <a:xfrm>
                  <a:off x="3827463" y="2324162"/>
                  <a:ext cx="766" cy="1"/>
                </a:xfrm>
                <a:prstGeom prst="rect">
                  <a:avLst/>
                </a:prstGeom>
                <a:solidFill>
                  <a:srgbClr val="F9AC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4" name="Rectangle 233"/>
                <p:cNvSpPr>
                  <a:spLocks noChangeArrowheads="1"/>
                </p:cNvSpPr>
                <p:nvPr/>
              </p:nvSpPr>
              <p:spPr bwMode="auto">
                <a:xfrm>
                  <a:off x="3827463" y="2324163"/>
                  <a:ext cx="766" cy="2"/>
                </a:xfrm>
                <a:prstGeom prst="rect">
                  <a:avLst/>
                </a:prstGeom>
                <a:solidFill>
                  <a:srgbClr val="F8AB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5" name="Rectangle 234"/>
                <p:cNvSpPr>
                  <a:spLocks noChangeArrowheads="1"/>
                </p:cNvSpPr>
                <p:nvPr/>
              </p:nvSpPr>
              <p:spPr bwMode="auto">
                <a:xfrm>
                  <a:off x="3827463" y="2324165"/>
                  <a:ext cx="766" cy="3"/>
                </a:xfrm>
                <a:prstGeom prst="rect">
                  <a:avLst/>
                </a:prstGeom>
                <a:solidFill>
                  <a:srgbClr val="F8AA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6" name="Rectangle 235"/>
                <p:cNvSpPr>
                  <a:spLocks noChangeArrowheads="1"/>
                </p:cNvSpPr>
                <p:nvPr/>
              </p:nvSpPr>
              <p:spPr bwMode="auto">
                <a:xfrm>
                  <a:off x="3827463" y="2324168"/>
                  <a:ext cx="766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7" name="Rectangle 236"/>
                <p:cNvSpPr>
                  <a:spLocks noChangeArrowheads="1"/>
                </p:cNvSpPr>
                <p:nvPr/>
              </p:nvSpPr>
              <p:spPr bwMode="auto">
                <a:xfrm>
                  <a:off x="3827463" y="2324170"/>
                  <a:ext cx="766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8" name="Rectangle 237"/>
                <p:cNvSpPr>
                  <a:spLocks noChangeArrowheads="1"/>
                </p:cNvSpPr>
                <p:nvPr/>
              </p:nvSpPr>
              <p:spPr bwMode="auto">
                <a:xfrm>
                  <a:off x="3827463" y="2324172"/>
                  <a:ext cx="766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39" name="Rectangle 238"/>
                <p:cNvSpPr>
                  <a:spLocks noChangeArrowheads="1"/>
                </p:cNvSpPr>
                <p:nvPr/>
              </p:nvSpPr>
              <p:spPr bwMode="auto">
                <a:xfrm>
                  <a:off x="3827463" y="2324174"/>
                  <a:ext cx="766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0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27463" y="2324176"/>
                  <a:ext cx="766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1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27463" y="2324178"/>
                  <a:ext cx="766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2" name="Rectangle 241"/>
                <p:cNvSpPr>
                  <a:spLocks noChangeArrowheads="1"/>
                </p:cNvSpPr>
                <p:nvPr/>
              </p:nvSpPr>
              <p:spPr bwMode="auto">
                <a:xfrm>
                  <a:off x="3827463" y="2324180"/>
                  <a:ext cx="766" cy="3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3" name="Rectangle 242"/>
                <p:cNvSpPr>
                  <a:spLocks noChangeArrowheads="1"/>
                </p:cNvSpPr>
                <p:nvPr/>
              </p:nvSpPr>
              <p:spPr bwMode="auto">
                <a:xfrm>
                  <a:off x="3827463" y="2324183"/>
                  <a:ext cx="766" cy="2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4" name="Rectangle 243"/>
                <p:cNvSpPr>
                  <a:spLocks noChangeArrowheads="1"/>
                </p:cNvSpPr>
                <p:nvPr/>
              </p:nvSpPr>
              <p:spPr bwMode="auto">
                <a:xfrm>
                  <a:off x="3827463" y="2324185"/>
                  <a:ext cx="766" cy="2"/>
                </a:xfrm>
                <a:prstGeom prst="rect">
                  <a:avLst/>
                </a:prstGeom>
                <a:solidFill>
                  <a:srgbClr val="F8A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5" name="Rectangle 244"/>
                <p:cNvSpPr>
                  <a:spLocks noChangeArrowheads="1"/>
                </p:cNvSpPr>
                <p:nvPr/>
              </p:nvSpPr>
              <p:spPr bwMode="auto">
                <a:xfrm>
                  <a:off x="3827463" y="2324187"/>
                  <a:ext cx="766" cy="1"/>
                </a:xfrm>
                <a:prstGeom prst="rect">
                  <a:avLst/>
                </a:prstGeom>
                <a:solidFill>
                  <a:srgbClr val="F89F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" name="Rectangle 245"/>
                <p:cNvSpPr>
                  <a:spLocks noChangeArrowheads="1"/>
                </p:cNvSpPr>
                <p:nvPr/>
              </p:nvSpPr>
              <p:spPr bwMode="auto">
                <a:xfrm>
                  <a:off x="3827463" y="2324188"/>
                  <a:ext cx="766" cy="3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7" name="Rectangle 246"/>
                <p:cNvSpPr>
                  <a:spLocks noChangeArrowheads="1"/>
                </p:cNvSpPr>
                <p:nvPr/>
              </p:nvSpPr>
              <p:spPr bwMode="auto">
                <a:xfrm>
                  <a:off x="3827463" y="2324191"/>
                  <a:ext cx="766" cy="3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8" name="Rectangle 247"/>
                <p:cNvSpPr>
                  <a:spLocks noChangeArrowheads="1"/>
                </p:cNvSpPr>
                <p:nvPr/>
              </p:nvSpPr>
              <p:spPr bwMode="auto">
                <a:xfrm>
                  <a:off x="3827463" y="2324194"/>
                  <a:ext cx="766" cy="3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9" name="Rectangle 248"/>
                <p:cNvSpPr>
                  <a:spLocks noChangeArrowheads="1"/>
                </p:cNvSpPr>
                <p:nvPr/>
              </p:nvSpPr>
              <p:spPr bwMode="auto">
                <a:xfrm>
                  <a:off x="3827463" y="2324197"/>
                  <a:ext cx="766" cy="3"/>
                </a:xfrm>
                <a:prstGeom prst="rect">
                  <a:avLst/>
                </a:prstGeom>
                <a:solidFill>
                  <a:srgbClr val="F79B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0" name="Rectangle 249"/>
                <p:cNvSpPr>
                  <a:spLocks noChangeArrowheads="1"/>
                </p:cNvSpPr>
                <p:nvPr/>
              </p:nvSpPr>
              <p:spPr bwMode="auto">
                <a:xfrm>
                  <a:off x="3827463" y="2324200"/>
                  <a:ext cx="766" cy="3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1" name="Rectangle 250"/>
                <p:cNvSpPr>
                  <a:spLocks noChangeArrowheads="1"/>
                </p:cNvSpPr>
                <p:nvPr/>
              </p:nvSpPr>
              <p:spPr bwMode="auto">
                <a:xfrm>
                  <a:off x="3827463" y="2324203"/>
                  <a:ext cx="766" cy="4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2" name="Rectangle 251"/>
                <p:cNvSpPr>
                  <a:spLocks noChangeArrowheads="1"/>
                </p:cNvSpPr>
                <p:nvPr/>
              </p:nvSpPr>
              <p:spPr bwMode="auto">
                <a:xfrm>
                  <a:off x="3827463" y="2324207"/>
                  <a:ext cx="766" cy="5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3" name="Rectangle 252"/>
                <p:cNvSpPr>
                  <a:spLocks noChangeArrowheads="1"/>
                </p:cNvSpPr>
                <p:nvPr/>
              </p:nvSpPr>
              <p:spPr bwMode="auto">
                <a:xfrm>
                  <a:off x="3827463" y="2324212"/>
                  <a:ext cx="766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4" name="Rectangle 253"/>
                <p:cNvSpPr>
                  <a:spLocks noChangeArrowheads="1"/>
                </p:cNvSpPr>
                <p:nvPr/>
              </p:nvSpPr>
              <p:spPr bwMode="auto">
                <a:xfrm>
                  <a:off x="3827463" y="2324217"/>
                  <a:ext cx="766" cy="15"/>
                </a:xfrm>
                <a:prstGeom prst="rect">
                  <a:avLst/>
                </a:prstGeom>
                <a:solidFill>
                  <a:srgbClr val="F796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5" name="Rectangle 254"/>
                <p:cNvSpPr>
                  <a:spLocks noChangeArrowheads="1"/>
                </p:cNvSpPr>
                <p:nvPr/>
              </p:nvSpPr>
              <p:spPr bwMode="auto">
                <a:xfrm>
                  <a:off x="3827463" y="2324232"/>
                  <a:ext cx="766" cy="4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6" name="Rectangle 255"/>
                <p:cNvSpPr>
                  <a:spLocks noChangeArrowheads="1"/>
                </p:cNvSpPr>
                <p:nvPr/>
              </p:nvSpPr>
              <p:spPr bwMode="auto">
                <a:xfrm>
                  <a:off x="3827463" y="2324236"/>
                  <a:ext cx="766" cy="5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7" name="Rectangle 256"/>
                <p:cNvSpPr>
                  <a:spLocks noChangeArrowheads="1"/>
                </p:cNvSpPr>
                <p:nvPr/>
              </p:nvSpPr>
              <p:spPr bwMode="auto">
                <a:xfrm>
                  <a:off x="3827463" y="2324241"/>
                  <a:ext cx="766" cy="3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8" name="Rectangle 257"/>
                <p:cNvSpPr>
                  <a:spLocks noChangeArrowheads="1"/>
                </p:cNvSpPr>
                <p:nvPr/>
              </p:nvSpPr>
              <p:spPr bwMode="auto">
                <a:xfrm>
                  <a:off x="3827463" y="2324244"/>
                  <a:ext cx="766" cy="3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59" name="Rectangle 258"/>
                <p:cNvSpPr>
                  <a:spLocks noChangeArrowheads="1"/>
                </p:cNvSpPr>
                <p:nvPr/>
              </p:nvSpPr>
              <p:spPr bwMode="auto">
                <a:xfrm>
                  <a:off x="3827463" y="2324247"/>
                  <a:ext cx="766" cy="3"/>
                </a:xfrm>
                <a:prstGeom prst="rect">
                  <a:avLst/>
                </a:prstGeom>
                <a:solidFill>
                  <a:srgbClr val="F79A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0" name="Rectangle 259"/>
                <p:cNvSpPr>
                  <a:spLocks noChangeArrowheads="1"/>
                </p:cNvSpPr>
                <p:nvPr/>
              </p:nvSpPr>
              <p:spPr bwMode="auto">
                <a:xfrm>
                  <a:off x="3827463" y="2324250"/>
                  <a:ext cx="766" cy="3"/>
                </a:xfrm>
                <a:prstGeom prst="rect">
                  <a:avLst/>
                </a:prstGeom>
                <a:solidFill>
                  <a:srgbClr val="F79B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1" name="Rectangle 260"/>
                <p:cNvSpPr>
                  <a:spLocks noChangeArrowheads="1"/>
                </p:cNvSpPr>
                <p:nvPr/>
              </p:nvSpPr>
              <p:spPr bwMode="auto">
                <a:xfrm>
                  <a:off x="3827463" y="2324253"/>
                  <a:ext cx="766" cy="3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2" name="Rectangle 261"/>
                <p:cNvSpPr>
                  <a:spLocks noChangeArrowheads="1"/>
                </p:cNvSpPr>
                <p:nvPr/>
              </p:nvSpPr>
              <p:spPr bwMode="auto">
                <a:xfrm>
                  <a:off x="3827463" y="2324256"/>
                  <a:ext cx="766" cy="2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3" name="Rectangle 262"/>
                <p:cNvSpPr>
                  <a:spLocks noChangeArrowheads="1"/>
                </p:cNvSpPr>
                <p:nvPr/>
              </p:nvSpPr>
              <p:spPr bwMode="auto">
                <a:xfrm>
                  <a:off x="3827463" y="2324258"/>
                  <a:ext cx="766" cy="1"/>
                </a:xfrm>
                <a:prstGeom prst="rect">
                  <a:avLst/>
                </a:prstGeom>
                <a:solidFill>
                  <a:srgbClr val="F89E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4" name="Rectangle 263"/>
                <p:cNvSpPr>
                  <a:spLocks noChangeArrowheads="1"/>
                </p:cNvSpPr>
                <p:nvPr/>
              </p:nvSpPr>
              <p:spPr bwMode="auto">
                <a:xfrm>
                  <a:off x="3827463" y="2324259"/>
                  <a:ext cx="766" cy="2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5" name="Rectangle 264"/>
                <p:cNvSpPr>
                  <a:spLocks noChangeArrowheads="1"/>
                </p:cNvSpPr>
                <p:nvPr/>
              </p:nvSpPr>
              <p:spPr bwMode="auto">
                <a:xfrm>
                  <a:off x="3827463" y="2324261"/>
                  <a:ext cx="766" cy="3"/>
                </a:xfrm>
                <a:prstGeom prst="rect">
                  <a:avLst/>
                </a:prstGeom>
                <a:solidFill>
                  <a:srgbClr val="F8A0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6" name="Rectangle 265"/>
                <p:cNvSpPr>
                  <a:spLocks noChangeArrowheads="1"/>
                </p:cNvSpPr>
                <p:nvPr/>
              </p:nvSpPr>
              <p:spPr bwMode="auto">
                <a:xfrm>
                  <a:off x="3827463" y="2324264"/>
                  <a:ext cx="766" cy="2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7" name="Rectangle 266"/>
                <p:cNvSpPr>
                  <a:spLocks noChangeArrowheads="1"/>
                </p:cNvSpPr>
                <p:nvPr/>
              </p:nvSpPr>
              <p:spPr bwMode="auto">
                <a:xfrm>
                  <a:off x="3827463" y="2324266"/>
                  <a:ext cx="766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8" name="Rectangle 267"/>
                <p:cNvSpPr>
                  <a:spLocks noChangeArrowheads="1"/>
                </p:cNvSpPr>
                <p:nvPr/>
              </p:nvSpPr>
              <p:spPr bwMode="auto">
                <a:xfrm>
                  <a:off x="3827463" y="2324268"/>
                  <a:ext cx="766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69" name="Rectangle 268"/>
                <p:cNvSpPr>
                  <a:spLocks noChangeArrowheads="1"/>
                </p:cNvSpPr>
                <p:nvPr/>
              </p:nvSpPr>
              <p:spPr bwMode="auto">
                <a:xfrm>
                  <a:off x="3827463" y="2324270"/>
                  <a:ext cx="766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0" name="Rectangle 269"/>
                <p:cNvSpPr>
                  <a:spLocks noChangeArrowheads="1"/>
                </p:cNvSpPr>
                <p:nvPr/>
              </p:nvSpPr>
              <p:spPr bwMode="auto">
                <a:xfrm>
                  <a:off x="3827463" y="2324272"/>
                  <a:ext cx="766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1" name="Rectangle 270"/>
                <p:cNvSpPr>
                  <a:spLocks noChangeArrowheads="1"/>
                </p:cNvSpPr>
                <p:nvPr/>
              </p:nvSpPr>
              <p:spPr bwMode="auto">
                <a:xfrm>
                  <a:off x="3827463" y="2324274"/>
                  <a:ext cx="766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2" name="Rectangle 271"/>
                <p:cNvSpPr>
                  <a:spLocks noChangeArrowheads="1"/>
                </p:cNvSpPr>
                <p:nvPr/>
              </p:nvSpPr>
              <p:spPr bwMode="auto">
                <a:xfrm>
                  <a:off x="3827463" y="2324276"/>
                  <a:ext cx="766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3" name="Rectangle 272"/>
                <p:cNvSpPr>
                  <a:spLocks noChangeArrowheads="1"/>
                </p:cNvSpPr>
                <p:nvPr/>
              </p:nvSpPr>
              <p:spPr bwMode="auto">
                <a:xfrm>
                  <a:off x="3827463" y="2324278"/>
                  <a:ext cx="766" cy="3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4" name="Rectangle 273"/>
                <p:cNvSpPr>
                  <a:spLocks noChangeArrowheads="1"/>
                </p:cNvSpPr>
                <p:nvPr/>
              </p:nvSpPr>
              <p:spPr bwMode="auto">
                <a:xfrm>
                  <a:off x="3827463" y="2324281"/>
                  <a:ext cx="766" cy="2"/>
                </a:xfrm>
                <a:prstGeom prst="rect">
                  <a:avLst/>
                </a:prstGeom>
                <a:solidFill>
                  <a:srgbClr val="F8AB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5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27463" y="2324283"/>
                  <a:ext cx="766" cy="1"/>
                </a:xfrm>
                <a:prstGeom prst="rect">
                  <a:avLst/>
                </a:prstGeom>
                <a:solidFill>
                  <a:srgbClr val="F9AC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6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27463" y="2324284"/>
                  <a:ext cx="766" cy="3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7" name="Rectangle 276"/>
                <p:cNvSpPr>
                  <a:spLocks noChangeArrowheads="1"/>
                </p:cNvSpPr>
                <p:nvPr/>
              </p:nvSpPr>
              <p:spPr bwMode="auto">
                <a:xfrm>
                  <a:off x="3827463" y="2324287"/>
                  <a:ext cx="766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8" name="Rectangle 277"/>
                <p:cNvSpPr>
                  <a:spLocks noChangeArrowheads="1"/>
                </p:cNvSpPr>
                <p:nvPr/>
              </p:nvSpPr>
              <p:spPr bwMode="auto">
                <a:xfrm>
                  <a:off x="3827463" y="2324289"/>
                  <a:ext cx="766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79" name="Rectangle 278"/>
                <p:cNvSpPr>
                  <a:spLocks noChangeArrowheads="1"/>
                </p:cNvSpPr>
                <p:nvPr/>
              </p:nvSpPr>
              <p:spPr bwMode="auto">
                <a:xfrm>
                  <a:off x="3827463" y="2324291"/>
                  <a:ext cx="766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0" name="Rectangle 279"/>
                <p:cNvSpPr>
                  <a:spLocks noChangeArrowheads="1"/>
                </p:cNvSpPr>
                <p:nvPr/>
              </p:nvSpPr>
              <p:spPr bwMode="auto">
                <a:xfrm>
                  <a:off x="3827463" y="2324293"/>
                  <a:ext cx="766" cy="3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1" name="Rectangle 280"/>
                <p:cNvSpPr>
                  <a:spLocks noChangeArrowheads="1"/>
                </p:cNvSpPr>
                <p:nvPr/>
              </p:nvSpPr>
              <p:spPr bwMode="auto">
                <a:xfrm>
                  <a:off x="3827463" y="2324296"/>
                  <a:ext cx="766" cy="3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2" name="Rectangle 281"/>
                <p:cNvSpPr>
                  <a:spLocks noChangeArrowheads="1"/>
                </p:cNvSpPr>
                <p:nvPr/>
              </p:nvSpPr>
              <p:spPr bwMode="auto">
                <a:xfrm>
                  <a:off x="3827463" y="2324299"/>
                  <a:ext cx="766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3" name="Rectangle 282"/>
                <p:cNvSpPr>
                  <a:spLocks noChangeArrowheads="1"/>
                </p:cNvSpPr>
                <p:nvPr/>
              </p:nvSpPr>
              <p:spPr bwMode="auto">
                <a:xfrm>
                  <a:off x="3827463" y="2324302"/>
                  <a:ext cx="766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4" name="Rectangle 283"/>
                <p:cNvSpPr>
                  <a:spLocks noChangeArrowheads="1"/>
                </p:cNvSpPr>
                <p:nvPr/>
              </p:nvSpPr>
              <p:spPr bwMode="auto">
                <a:xfrm>
                  <a:off x="3827463" y="2324306"/>
                  <a:ext cx="766" cy="2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5" name="Rectangle 284"/>
                <p:cNvSpPr>
                  <a:spLocks noChangeArrowheads="1"/>
                </p:cNvSpPr>
                <p:nvPr/>
              </p:nvSpPr>
              <p:spPr bwMode="auto">
                <a:xfrm>
                  <a:off x="3827463" y="2324308"/>
                  <a:ext cx="766" cy="4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6" name="Rectangle 285"/>
                <p:cNvSpPr>
                  <a:spLocks noChangeArrowheads="1"/>
                </p:cNvSpPr>
                <p:nvPr/>
              </p:nvSpPr>
              <p:spPr bwMode="auto">
                <a:xfrm>
                  <a:off x="3827463" y="2324312"/>
                  <a:ext cx="766" cy="5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7" name="Rectangle 286"/>
                <p:cNvSpPr>
                  <a:spLocks noChangeArrowheads="1"/>
                </p:cNvSpPr>
                <p:nvPr/>
              </p:nvSpPr>
              <p:spPr bwMode="auto">
                <a:xfrm>
                  <a:off x="3827463" y="2324317"/>
                  <a:ext cx="766" cy="6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8" name="Rectangle 287"/>
                <p:cNvSpPr>
                  <a:spLocks noChangeArrowheads="1"/>
                </p:cNvSpPr>
                <p:nvPr/>
              </p:nvSpPr>
              <p:spPr bwMode="auto">
                <a:xfrm>
                  <a:off x="3827463" y="2324323"/>
                  <a:ext cx="766" cy="5"/>
                </a:xfrm>
                <a:prstGeom prst="rect">
                  <a:avLst/>
                </a:prstGeom>
                <a:solidFill>
                  <a:srgbClr val="FABC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89" name="Rectangle 288"/>
                <p:cNvSpPr>
                  <a:spLocks noChangeArrowheads="1"/>
                </p:cNvSpPr>
                <p:nvPr/>
              </p:nvSpPr>
              <p:spPr bwMode="auto">
                <a:xfrm>
                  <a:off x="3827463" y="2324328"/>
                  <a:ext cx="766" cy="11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0" name="Rectangle 289"/>
                <p:cNvSpPr>
                  <a:spLocks noChangeArrowheads="1"/>
                </p:cNvSpPr>
                <p:nvPr/>
              </p:nvSpPr>
              <p:spPr bwMode="auto">
                <a:xfrm>
                  <a:off x="3827463" y="2324339"/>
                  <a:ext cx="766" cy="7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1" name="Rectangle 290"/>
                <p:cNvSpPr>
                  <a:spLocks noChangeArrowheads="1"/>
                </p:cNvSpPr>
                <p:nvPr/>
              </p:nvSpPr>
              <p:spPr bwMode="auto">
                <a:xfrm>
                  <a:off x="3827463" y="2324100"/>
                  <a:ext cx="766" cy="245"/>
                </a:xfrm>
                <a:prstGeom prst="rect">
                  <a:avLst/>
                </a:prstGeom>
                <a:noFill/>
                <a:ln w="8" cap="rnd">
                  <a:solidFill>
                    <a:srgbClr val="F79646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216" name="Rectangle 215"/>
              <p:cNvSpPr>
                <a:spLocks noChangeArrowheads="1"/>
              </p:cNvSpPr>
              <p:nvPr/>
            </p:nvSpPr>
            <p:spPr bwMode="auto">
              <a:xfrm>
                <a:off x="3851081" y="2373388"/>
                <a:ext cx="1188194" cy="2171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IDENTIFICATION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54" name="Group 53"/>
            <p:cNvGrpSpPr>
              <a:grpSpLocks/>
            </p:cNvGrpSpPr>
            <p:nvPr/>
          </p:nvGrpSpPr>
          <p:grpSpPr bwMode="auto">
            <a:xfrm>
              <a:off x="2508250" y="4240213"/>
              <a:ext cx="1560175" cy="385762"/>
              <a:chOff x="2508250" y="4240213"/>
              <a:chExt cx="1558987" cy="457186"/>
            </a:xfrm>
          </p:grpSpPr>
          <p:grpSp>
            <p:nvGrpSpPr>
              <p:cNvPr id="137" name="Group 136"/>
              <p:cNvGrpSpPr>
                <a:grpSpLocks/>
              </p:cNvGrpSpPr>
              <p:nvPr/>
            </p:nvGrpSpPr>
            <p:grpSpPr bwMode="auto">
              <a:xfrm>
                <a:off x="2508250" y="4240213"/>
                <a:ext cx="1558987" cy="457186"/>
                <a:chOff x="2508250" y="4240213"/>
                <a:chExt cx="890" cy="261"/>
              </a:xfrm>
            </p:grpSpPr>
            <p:sp>
              <p:nvSpPr>
                <p:cNvPr id="139" name="Rectangle 138"/>
                <p:cNvSpPr>
                  <a:spLocks noChangeArrowheads="1"/>
                </p:cNvSpPr>
                <p:nvPr/>
              </p:nvSpPr>
              <p:spPr bwMode="auto">
                <a:xfrm>
                  <a:off x="2508258" y="4240229"/>
                  <a:ext cx="882" cy="245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0" name="Rectangle 139"/>
                <p:cNvSpPr>
                  <a:spLocks noChangeArrowheads="1"/>
                </p:cNvSpPr>
                <p:nvPr/>
              </p:nvSpPr>
              <p:spPr bwMode="auto">
                <a:xfrm>
                  <a:off x="2508250" y="4240213"/>
                  <a:ext cx="883" cy="14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1" name="Rectangle 140"/>
                <p:cNvSpPr>
                  <a:spLocks noChangeArrowheads="1"/>
                </p:cNvSpPr>
                <p:nvPr/>
              </p:nvSpPr>
              <p:spPr bwMode="auto">
                <a:xfrm>
                  <a:off x="2508250" y="4240227"/>
                  <a:ext cx="883" cy="7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2" name="Rectangle 141"/>
                <p:cNvSpPr>
                  <a:spLocks noChangeArrowheads="1"/>
                </p:cNvSpPr>
                <p:nvPr/>
              </p:nvSpPr>
              <p:spPr bwMode="auto">
                <a:xfrm>
                  <a:off x="2508250" y="4240234"/>
                  <a:ext cx="883" cy="5"/>
                </a:xfrm>
                <a:prstGeom prst="rect">
                  <a:avLst/>
                </a:prstGeom>
                <a:solidFill>
                  <a:srgbClr val="FABD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3" name="Rectangle 142"/>
                <p:cNvSpPr>
                  <a:spLocks noChangeArrowheads="1"/>
                </p:cNvSpPr>
                <p:nvPr/>
              </p:nvSpPr>
              <p:spPr bwMode="auto">
                <a:xfrm>
                  <a:off x="2508250" y="4240239"/>
                  <a:ext cx="883" cy="4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4" name="Rectangle 143"/>
                <p:cNvSpPr>
                  <a:spLocks noChangeArrowheads="1"/>
                </p:cNvSpPr>
                <p:nvPr/>
              </p:nvSpPr>
              <p:spPr bwMode="auto">
                <a:xfrm>
                  <a:off x="2508250" y="4240243"/>
                  <a:ext cx="883" cy="5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5" name="Rectangle 144"/>
                <p:cNvSpPr>
                  <a:spLocks noChangeArrowheads="1"/>
                </p:cNvSpPr>
                <p:nvPr/>
              </p:nvSpPr>
              <p:spPr bwMode="auto">
                <a:xfrm>
                  <a:off x="2508250" y="4240248"/>
                  <a:ext cx="883" cy="3"/>
                </a:xfrm>
                <a:prstGeom prst="rect">
                  <a:avLst/>
                </a:prstGeom>
                <a:solidFill>
                  <a:srgbClr val="F9B9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6" name="Rectangle 145"/>
                <p:cNvSpPr>
                  <a:spLocks noChangeArrowheads="1"/>
                </p:cNvSpPr>
                <p:nvPr/>
              </p:nvSpPr>
              <p:spPr bwMode="auto">
                <a:xfrm>
                  <a:off x="2508250" y="4240251"/>
                  <a:ext cx="883" cy="4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7" name="Rectangle 146"/>
                <p:cNvSpPr>
                  <a:spLocks noChangeArrowheads="1"/>
                </p:cNvSpPr>
                <p:nvPr/>
              </p:nvSpPr>
              <p:spPr bwMode="auto">
                <a:xfrm>
                  <a:off x="2508250" y="4240255"/>
                  <a:ext cx="883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8" name="Rectangle 147"/>
                <p:cNvSpPr>
                  <a:spLocks noChangeArrowheads="1"/>
                </p:cNvSpPr>
                <p:nvPr/>
              </p:nvSpPr>
              <p:spPr bwMode="auto">
                <a:xfrm>
                  <a:off x="2508250" y="4240259"/>
                  <a:ext cx="883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9" name="Rectangle 148"/>
                <p:cNvSpPr>
                  <a:spLocks noChangeArrowheads="1"/>
                </p:cNvSpPr>
                <p:nvPr/>
              </p:nvSpPr>
              <p:spPr bwMode="auto">
                <a:xfrm>
                  <a:off x="2508250" y="4240262"/>
                  <a:ext cx="883" cy="1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0" name="Rectangle 149"/>
                <p:cNvSpPr>
                  <a:spLocks noChangeArrowheads="1"/>
                </p:cNvSpPr>
                <p:nvPr/>
              </p:nvSpPr>
              <p:spPr bwMode="auto">
                <a:xfrm>
                  <a:off x="2508250" y="4240263"/>
                  <a:ext cx="883" cy="3"/>
                </a:xfrm>
                <a:prstGeom prst="rect">
                  <a:avLst/>
                </a:prstGeom>
                <a:solidFill>
                  <a:srgbClr val="F9B2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1" name="Rectangle 150"/>
                <p:cNvSpPr>
                  <a:spLocks noChangeArrowheads="1"/>
                </p:cNvSpPr>
                <p:nvPr/>
              </p:nvSpPr>
              <p:spPr bwMode="auto">
                <a:xfrm>
                  <a:off x="2508250" y="4240266"/>
                  <a:ext cx="883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2" name="Rectangle 151"/>
                <p:cNvSpPr>
                  <a:spLocks noChangeArrowheads="1"/>
                </p:cNvSpPr>
                <p:nvPr/>
              </p:nvSpPr>
              <p:spPr bwMode="auto">
                <a:xfrm>
                  <a:off x="2508250" y="4240268"/>
                  <a:ext cx="883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3" name="Rectangle 152"/>
                <p:cNvSpPr>
                  <a:spLocks noChangeArrowheads="1"/>
                </p:cNvSpPr>
                <p:nvPr/>
              </p:nvSpPr>
              <p:spPr bwMode="auto">
                <a:xfrm>
                  <a:off x="2508250" y="4240270"/>
                  <a:ext cx="883" cy="3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4" name="Rectangle 153"/>
                <p:cNvSpPr>
                  <a:spLocks noChangeArrowheads="1"/>
                </p:cNvSpPr>
                <p:nvPr/>
              </p:nvSpPr>
              <p:spPr bwMode="auto">
                <a:xfrm>
                  <a:off x="2508250" y="4240273"/>
                  <a:ext cx="883" cy="2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5" name="Rectangle 154"/>
                <p:cNvSpPr>
                  <a:spLocks noChangeArrowheads="1"/>
                </p:cNvSpPr>
                <p:nvPr/>
              </p:nvSpPr>
              <p:spPr bwMode="auto">
                <a:xfrm>
                  <a:off x="2508250" y="4240275"/>
                  <a:ext cx="883" cy="2"/>
                </a:xfrm>
                <a:prstGeom prst="rect">
                  <a:avLst/>
                </a:prstGeom>
                <a:solidFill>
                  <a:srgbClr val="F9AC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6" name="Rectangle 155"/>
                <p:cNvSpPr>
                  <a:spLocks noChangeArrowheads="1"/>
                </p:cNvSpPr>
                <p:nvPr/>
              </p:nvSpPr>
              <p:spPr bwMode="auto">
                <a:xfrm>
                  <a:off x="2508250" y="4240277"/>
                  <a:ext cx="883" cy="2"/>
                </a:xfrm>
                <a:prstGeom prst="rect">
                  <a:avLst/>
                </a:prstGeom>
                <a:solidFill>
                  <a:srgbClr val="F8AB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7" name="Rectangle 156"/>
                <p:cNvSpPr>
                  <a:spLocks noChangeArrowheads="1"/>
                </p:cNvSpPr>
                <p:nvPr/>
              </p:nvSpPr>
              <p:spPr bwMode="auto">
                <a:xfrm>
                  <a:off x="2508250" y="4240279"/>
                  <a:ext cx="883" cy="3"/>
                </a:xfrm>
                <a:prstGeom prst="rect">
                  <a:avLst/>
                </a:prstGeom>
                <a:solidFill>
                  <a:srgbClr val="F8AA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8" name="Rectangle 157"/>
                <p:cNvSpPr>
                  <a:spLocks noChangeArrowheads="1"/>
                </p:cNvSpPr>
                <p:nvPr/>
              </p:nvSpPr>
              <p:spPr bwMode="auto">
                <a:xfrm>
                  <a:off x="2508250" y="4240282"/>
                  <a:ext cx="883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59" name="Rectangle 158"/>
                <p:cNvSpPr>
                  <a:spLocks noChangeArrowheads="1"/>
                </p:cNvSpPr>
                <p:nvPr/>
              </p:nvSpPr>
              <p:spPr bwMode="auto">
                <a:xfrm>
                  <a:off x="2508250" y="4240284"/>
                  <a:ext cx="883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0" name="Rectangle 159"/>
                <p:cNvSpPr>
                  <a:spLocks noChangeArrowheads="1"/>
                </p:cNvSpPr>
                <p:nvPr/>
              </p:nvSpPr>
              <p:spPr bwMode="auto">
                <a:xfrm>
                  <a:off x="2508250" y="4240286"/>
                  <a:ext cx="883" cy="1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2" name="Rectangle 161"/>
                <p:cNvSpPr>
                  <a:spLocks noChangeArrowheads="1"/>
                </p:cNvSpPr>
                <p:nvPr/>
              </p:nvSpPr>
              <p:spPr bwMode="auto">
                <a:xfrm>
                  <a:off x="2508250" y="4240287"/>
                  <a:ext cx="883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3" name="Rectangle 162"/>
                <p:cNvSpPr>
                  <a:spLocks noChangeArrowheads="1"/>
                </p:cNvSpPr>
                <p:nvPr/>
              </p:nvSpPr>
              <p:spPr bwMode="auto">
                <a:xfrm>
                  <a:off x="2508250" y="4240289"/>
                  <a:ext cx="883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4" name="Rectangle 163"/>
                <p:cNvSpPr>
                  <a:spLocks noChangeArrowheads="1"/>
                </p:cNvSpPr>
                <p:nvPr/>
              </p:nvSpPr>
              <p:spPr bwMode="auto">
                <a:xfrm>
                  <a:off x="2508250" y="4240291"/>
                  <a:ext cx="883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5" name="Rectangle 164"/>
                <p:cNvSpPr>
                  <a:spLocks noChangeArrowheads="1"/>
                </p:cNvSpPr>
                <p:nvPr/>
              </p:nvSpPr>
              <p:spPr bwMode="auto">
                <a:xfrm>
                  <a:off x="2508250" y="4240293"/>
                  <a:ext cx="883" cy="2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6" name="Rectangle 165"/>
                <p:cNvSpPr>
                  <a:spLocks noChangeArrowheads="1"/>
                </p:cNvSpPr>
                <p:nvPr/>
              </p:nvSpPr>
              <p:spPr bwMode="auto">
                <a:xfrm>
                  <a:off x="2508250" y="4240295"/>
                  <a:ext cx="883" cy="3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7" name="Rectangle 166"/>
                <p:cNvSpPr>
                  <a:spLocks noChangeArrowheads="1"/>
                </p:cNvSpPr>
                <p:nvPr/>
              </p:nvSpPr>
              <p:spPr bwMode="auto">
                <a:xfrm>
                  <a:off x="2508250" y="4240298"/>
                  <a:ext cx="883" cy="2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8" name="Rectangle 167"/>
                <p:cNvSpPr>
                  <a:spLocks noChangeArrowheads="1"/>
                </p:cNvSpPr>
                <p:nvPr/>
              </p:nvSpPr>
              <p:spPr bwMode="auto">
                <a:xfrm>
                  <a:off x="2508250" y="4240300"/>
                  <a:ext cx="883" cy="2"/>
                </a:xfrm>
                <a:prstGeom prst="rect">
                  <a:avLst/>
                </a:prstGeom>
                <a:solidFill>
                  <a:srgbClr val="F89E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69" name="Rectangle 168"/>
                <p:cNvSpPr>
                  <a:spLocks noChangeArrowheads="1"/>
                </p:cNvSpPr>
                <p:nvPr/>
              </p:nvSpPr>
              <p:spPr bwMode="auto">
                <a:xfrm>
                  <a:off x="2508250" y="4240302"/>
                  <a:ext cx="883" cy="3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0" name="Rectangle 169"/>
                <p:cNvSpPr>
                  <a:spLocks noChangeArrowheads="1"/>
                </p:cNvSpPr>
                <p:nvPr/>
              </p:nvSpPr>
              <p:spPr bwMode="auto">
                <a:xfrm>
                  <a:off x="2508250" y="4240305"/>
                  <a:ext cx="883" cy="2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1" name="Rectangle 170"/>
                <p:cNvSpPr>
                  <a:spLocks noChangeArrowheads="1"/>
                </p:cNvSpPr>
                <p:nvPr/>
              </p:nvSpPr>
              <p:spPr bwMode="auto">
                <a:xfrm>
                  <a:off x="2508250" y="4240307"/>
                  <a:ext cx="883" cy="3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2" name="Rectangle 171"/>
                <p:cNvSpPr>
                  <a:spLocks noChangeArrowheads="1"/>
                </p:cNvSpPr>
                <p:nvPr/>
              </p:nvSpPr>
              <p:spPr bwMode="auto">
                <a:xfrm>
                  <a:off x="2508250" y="4240310"/>
                  <a:ext cx="883" cy="3"/>
                </a:xfrm>
                <a:prstGeom prst="rect">
                  <a:avLst/>
                </a:prstGeom>
                <a:solidFill>
                  <a:srgbClr val="F79B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3" name="Rectangle 172"/>
                <p:cNvSpPr>
                  <a:spLocks noChangeArrowheads="1"/>
                </p:cNvSpPr>
                <p:nvPr/>
              </p:nvSpPr>
              <p:spPr bwMode="auto">
                <a:xfrm>
                  <a:off x="2508250" y="4240313"/>
                  <a:ext cx="883" cy="3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4" name="Rectangle 173"/>
                <p:cNvSpPr>
                  <a:spLocks noChangeArrowheads="1"/>
                </p:cNvSpPr>
                <p:nvPr/>
              </p:nvSpPr>
              <p:spPr bwMode="auto">
                <a:xfrm>
                  <a:off x="2508250" y="4240316"/>
                  <a:ext cx="883" cy="3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5" name="Rectangle 174"/>
                <p:cNvSpPr>
                  <a:spLocks noChangeArrowheads="1"/>
                </p:cNvSpPr>
                <p:nvPr/>
              </p:nvSpPr>
              <p:spPr bwMode="auto">
                <a:xfrm>
                  <a:off x="2508250" y="4240319"/>
                  <a:ext cx="883" cy="6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6" name="Rectangle 175"/>
                <p:cNvSpPr>
                  <a:spLocks noChangeArrowheads="1"/>
                </p:cNvSpPr>
                <p:nvPr/>
              </p:nvSpPr>
              <p:spPr bwMode="auto">
                <a:xfrm>
                  <a:off x="2508250" y="4240325"/>
                  <a:ext cx="883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7" name="Rectangle 176"/>
                <p:cNvSpPr>
                  <a:spLocks noChangeArrowheads="1"/>
                </p:cNvSpPr>
                <p:nvPr/>
              </p:nvSpPr>
              <p:spPr bwMode="auto">
                <a:xfrm>
                  <a:off x="2508250" y="4240330"/>
                  <a:ext cx="883" cy="14"/>
                </a:xfrm>
                <a:prstGeom prst="rect">
                  <a:avLst/>
                </a:prstGeom>
                <a:solidFill>
                  <a:srgbClr val="F796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8" name="Rectangle 177"/>
                <p:cNvSpPr>
                  <a:spLocks noChangeArrowheads="1"/>
                </p:cNvSpPr>
                <p:nvPr/>
              </p:nvSpPr>
              <p:spPr bwMode="auto">
                <a:xfrm>
                  <a:off x="2508250" y="4240344"/>
                  <a:ext cx="883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79" name="Rectangle 178"/>
                <p:cNvSpPr>
                  <a:spLocks noChangeArrowheads="1"/>
                </p:cNvSpPr>
                <p:nvPr/>
              </p:nvSpPr>
              <p:spPr bwMode="auto">
                <a:xfrm>
                  <a:off x="2508250" y="4240349"/>
                  <a:ext cx="883" cy="5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0" name="Rectangle 179"/>
                <p:cNvSpPr>
                  <a:spLocks noChangeArrowheads="1"/>
                </p:cNvSpPr>
                <p:nvPr/>
              </p:nvSpPr>
              <p:spPr bwMode="auto">
                <a:xfrm>
                  <a:off x="2508250" y="4240354"/>
                  <a:ext cx="883" cy="3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1" name="Rectangle 180"/>
                <p:cNvSpPr>
                  <a:spLocks noChangeArrowheads="1"/>
                </p:cNvSpPr>
                <p:nvPr/>
              </p:nvSpPr>
              <p:spPr bwMode="auto">
                <a:xfrm>
                  <a:off x="2508250" y="4240357"/>
                  <a:ext cx="883" cy="2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2" name="Rectangle 181"/>
                <p:cNvSpPr>
                  <a:spLocks noChangeArrowheads="1"/>
                </p:cNvSpPr>
                <p:nvPr/>
              </p:nvSpPr>
              <p:spPr bwMode="auto">
                <a:xfrm>
                  <a:off x="2508250" y="4240359"/>
                  <a:ext cx="883" cy="4"/>
                </a:xfrm>
                <a:prstGeom prst="rect">
                  <a:avLst/>
                </a:prstGeom>
                <a:solidFill>
                  <a:srgbClr val="F79A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3" name="Rectangle 182"/>
                <p:cNvSpPr>
                  <a:spLocks noChangeArrowheads="1"/>
                </p:cNvSpPr>
                <p:nvPr/>
              </p:nvSpPr>
              <p:spPr bwMode="auto">
                <a:xfrm>
                  <a:off x="2508250" y="4240363"/>
                  <a:ext cx="883" cy="3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4" name="Rectangle 183"/>
                <p:cNvSpPr>
                  <a:spLocks noChangeArrowheads="1"/>
                </p:cNvSpPr>
                <p:nvPr/>
              </p:nvSpPr>
              <p:spPr bwMode="auto">
                <a:xfrm>
                  <a:off x="2508250" y="4240366"/>
                  <a:ext cx="883" cy="2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5" name="Rectangle 184"/>
                <p:cNvSpPr>
                  <a:spLocks noChangeArrowheads="1"/>
                </p:cNvSpPr>
                <p:nvPr/>
              </p:nvSpPr>
              <p:spPr bwMode="auto">
                <a:xfrm>
                  <a:off x="2508250" y="4240368"/>
                  <a:ext cx="883" cy="3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6" name="Rectangle 185"/>
                <p:cNvSpPr>
                  <a:spLocks noChangeArrowheads="1"/>
                </p:cNvSpPr>
                <p:nvPr/>
              </p:nvSpPr>
              <p:spPr bwMode="auto">
                <a:xfrm>
                  <a:off x="2508250" y="4240371"/>
                  <a:ext cx="883" cy="2"/>
                </a:xfrm>
                <a:prstGeom prst="rect">
                  <a:avLst/>
                </a:prstGeom>
                <a:solidFill>
                  <a:srgbClr val="F89F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7" name="Rectangle 186"/>
                <p:cNvSpPr>
                  <a:spLocks noChangeArrowheads="1"/>
                </p:cNvSpPr>
                <p:nvPr/>
              </p:nvSpPr>
              <p:spPr bwMode="auto">
                <a:xfrm>
                  <a:off x="2508250" y="4240373"/>
                  <a:ext cx="883" cy="2"/>
                </a:xfrm>
                <a:prstGeom prst="rect">
                  <a:avLst/>
                </a:prstGeom>
                <a:solidFill>
                  <a:srgbClr val="F8A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8" name="Rectangle 187"/>
                <p:cNvSpPr>
                  <a:spLocks noChangeArrowheads="1"/>
                </p:cNvSpPr>
                <p:nvPr/>
              </p:nvSpPr>
              <p:spPr bwMode="auto">
                <a:xfrm>
                  <a:off x="2508250" y="4240375"/>
                  <a:ext cx="883" cy="3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89" name="Rectangle 188"/>
                <p:cNvSpPr>
                  <a:spLocks noChangeArrowheads="1"/>
                </p:cNvSpPr>
                <p:nvPr/>
              </p:nvSpPr>
              <p:spPr bwMode="auto">
                <a:xfrm>
                  <a:off x="2508250" y="4240378"/>
                  <a:ext cx="883" cy="2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0" name="Rectangle 189"/>
                <p:cNvSpPr>
                  <a:spLocks noChangeArrowheads="1"/>
                </p:cNvSpPr>
                <p:nvPr/>
              </p:nvSpPr>
              <p:spPr bwMode="auto">
                <a:xfrm>
                  <a:off x="2508250" y="4240380"/>
                  <a:ext cx="883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1" name="Rectangle 190"/>
                <p:cNvSpPr>
                  <a:spLocks noChangeArrowheads="1"/>
                </p:cNvSpPr>
                <p:nvPr/>
              </p:nvSpPr>
              <p:spPr bwMode="auto">
                <a:xfrm>
                  <a:off x="2508250" y="4240382"/>
                  <a:ext cx="883" cy="1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2" name="Rectangle 191"/>
                <p:cNvSpPr>
                  <a:spLocks noChangeArrowheads="1"/>
                </p:cNvSpPr>
                <p:nvPr/>
              </p:nvSpPr>
              <p:spPr bwMode="auto">
                <a:xfrm>
                  <a:off x="2508250" y="4240383"/>
                  <a:ext cx="883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3" name="Rectangle 192"/>
                <p:cNvSpPr>
                  <a:spLocks noChangeArrowheads="1"/>
                </p:cNvSpPr>
                <p:nvPr/>
              </p:nvSpPr>
              <p:spPr bwMode="auto">
                <a:xfrm>
                  <a:off x="2508250" y="4240385"/>
                  <a:ext cx="883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4" name="Rectangle 193"/>
                <p:cNvSpPr>
                  <a:spLocks noChangeArrowheads="1"/>
                </p:cNvSpPr>
                <p:nvPr/>
              </p:nvSpPr>
              <p:spPr bwMode="auto">
                <a:xfrm>
                  <a:off x="2508250" y="4240387"/>
                  <a:ext cx="883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5" name="Rectangle 194"/>
                <p:cNvSpPr>
                  <a:spLocks noChangeArrowheads="1"/>
                </p:cNvSpPr>
                <p:nvPr/>
              </p:nvSpPr>
              <p:spPr bwMode="auto">
                <a:xfrm>
                  <a:off x="2508250" y="4240389"/>
                  <a:ext cx="883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6" name="Rectangle 195"/>
                <p:cNvSpPr>
                  <a:spLocks noChangeArrowheads="1"/>
                </p:cNvSpPr>
                <p:nvPr/>
              </p:nvSpPr>
              <p:spPr bwMode="auto">
                <a:xfrm>
                  <a:off x="2508250" y="4240391"/>
                  <a:ext cx="883" cy="3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7" name="Rectangle 196"/>
                <p:cNvSpPr>
                  <a:spLocks noChangeArrowheads="1"/>
                </p:cNvSpPr>
                <p:nvPr/>
              </p:nvSpPr>
              <p:spPr bwMode="auto">
                <a:xfrm>
                  <a:off x="2508250" y="4240394"/>
                  <a:ext cx="883" cy="2"/>
                </a:xfrm>
                <a:prstGeom prst="rect">
                  <a:avLst/>
                </a:prstGeom>
                <a:solidFill>
                  <a:srgbClr val="F8AB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8" name="Rectangle 197"/>
                <p:cNvSpPr>
                  <a:spLocks noChangeArrowheads="1"/>
                </p:cNvSpPr>
                <p:nvPr/>
              </p:nvSpPr>
              <p:spPr bwMode="auto">
                <a:xfrm>
                  <a:off x="2508250" y="4240396"/>
                  <a:ext cx="883" cy="2"/>
                </a:xfrm>
                <a:prstGeom prst="rect">
                  <a:avLst/>
                </a:prstGeom>
                <a:solidFill>
                  <a:srgbClr val="F9AC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9" name="Rectangle 198"/>
                <p:cNvSpPr>
                  <a:spLocks noChangeArrowheads="1"/>
                </p:cNvSpPr>
                <p:nvPr/>
              </p:nvSpPr>
              <p:spPr bwMode="auto">
                <a:xfrm>
                  <a:off x="2508250" y="4240398"/>
                  <a:ext cx="883" cy="3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0" name="Rectangle 199"/>
                <p:cNvSpPr>
                  <a:spLocks noChangeArrowheads="1"/>
                </p:cNvSpPr>
                <p:nvPr/>
              </p:nvSpPr>
              <p:spPr bwMode="auto">
                <a:xfrm>
                  <a:off x="2508250" y="4240401"/>
                  <a:ext cx="883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1" name="Rectangle 200"/>
                <p:cNvSpPr>
                  <a:spLocks noChangeArrowheads="1"/>
                </p:cNvSpPr>
                <p:nvPr/>
              </p:nvSpPr>
              <p:spPr bwMode="auto">
                <a:xfrm>
                  <a:off x="2508250" y="4240403"/>
                  <a:ext cx="883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2" name="Rectangle 201"/>
                <p:cNvSpPr>
                  <a:spLocks noChangeArrowheads="1"/>
                </p:cNvSpPr>
                <p:nvPr/>
              </p:nvSpPr>
              <p:spPr bwMode="auto">
                <a:xfrm>
                  <a:off x="2508250" y="4240405"/>
                  <a:ext cx="883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3" name="Rectangle 202"/>
                <p:cNvSpPr>
                  <a:spLocks noChangeArrowheads="1"/>
                </p:cNvSpPr>
                <p:nvPr/>
              </p:nvSpPr>
              <p:spPr bwMode="auto">
                <a:xfrm>
                  <a:off x="2508250" y="4240407"/>
                  <a:ext cx="883" cy="2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4" name="Rectangle 203"/>
                <p:cNvSpPr>
                  <a:spLocks noChangeArrowheads="1"/>
                </p:cNvSpPr>
                <p:nvPr/>
              </p:nvSpPr>
              <p:spPr bwMode="auto">
                <a:xfrm>
                  <a:off x="2508250" y="4240409"/>
                  <a:ext cx="883" cy="3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5" name="Rectangle 204"/>
                <p:cNvSpPr>
                  <a:spLocks noChangeArrowheads="1"/>
                </p:cNvSpPr>
                <p:nvPr/>
              </p:nvSpPr>
              <p:spPr bwMode="auto">
                <a:xfrm>
                  <a:off x="2508250" y="4240412"/>
                  <a:ext cx="883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6" name="Rectangle 205"/>
                <p:cNvSpPr>
                  <a:spLocks noChangeArrowheads="1"/>
                </p:cNvSpPr>
                <p:nvPr/>
              </p:nvSpPr>
              <p:spPr bwMode="auto">
                <a:xfrm>
                  <a:off x="2508250" y="4240415"/>
                  <a:ext cx="883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7" name="Rectangle 206"/>
                <p:cNvSpPr>
                  <a:spLocks noChangeArrowheads="1"/>
                </p:cNvSpPr>
                <p:nvPr/>
              </p:nvSpPr>
              <p:spPr bwMode="auto">
                <a:xfrm>
                  <a:off x="2508250" y="4240419"/>
                  <a:ext cx="883" cy="3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8" name="Rectangle 207"/>
                <p:cNvSpPr>
                  <a:spLocks noChangeArrowheads="1"/>
                </p:cNvSpPr>
                <p:nvPr/>
              </p:nvSpPr>
              <p:spPr bwMode="auto">
                <a:xfrm>
                  <a:off x="2508250" y="4240422"/>
                  <a:ext cx="883" cy="4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09" name="Rectangle 208"/>
                <p:cNvSpPr>
                  <a:spLocks noChangeArrowheads="1"/>
                </p:cNvSpPr>
                <p:nvPr/>
              </p:nvSpPr>
              <p:spPr bwMode="auto">
                <a:xfrm>
                  <a:off x="2508250" y="4240426"/>
                  <a:ext cx="883" cy="5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0" name="Rectangle 209"/>
                <p:cNvSpPr>
                  <a:spLocks noChangeArrowheads="1"/>
                </p:cNvSpPr>
                <p:nvPr/>
              </p:nvSpPr>
              <p:spPr bwMode="auto">
                <a:xfrm>
                  <a:off x="2508250" y="4240431"/>
                  <a:ext cx="883" cy="5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1" name="Rectangle 210"/>
                <p:cNvSpPr>
                  <a:spLocks noChangeArrowheads="1"/>
                </p:cNvSpPr>
                <p:nvPr/>
              </p:nvSpPr>
              <p:spPr bwMode="auto">
                <a:xfrm>
                  <a:off x="2508250" y="4240436"/>
                  <a:ext cx="883" cy="5"/>
                </a:xfrm>
                <a:prstGeom prst="rect">
                  <a:avLst/>
                </a:prstGeom>
                <a:solidFill>
                  <a:srgbClr val="FABC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2" name="Rectangle 211"/>
                <p:cNvSpPr>
                  <a:spLocks noChangeArrowheads="1"/>
                </p:cNvSpPr>
                <p:nvPr/>
              </p:nvSpPr>
              <p:spPr bwMode="auto">
                <a:xfrm>
                  <a:off x="2508250" y="4240441"/>
                  <a:ext cx="883" cy="12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3" name="Rectangle 212"/>
                <p:cNvSpPr>
                  <a:spLocks noChangeArrowheads="1"/>
                </p:cNvSpPr>
                <p:nvPr/>
              </p:nvSpPr>
              <p:spPr bwMode="auto">
                <a:xfrm>
                  <a:off x="2508250" y="4240453"/>
                  <a:ext cx="883" cy="5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14" name="Rectangle 213"/>
                <p:cNvSpPr>
                  <a:spLocks noChangeArrowheads="1"/>
                </p:cNvSpPr>
                <p:nvPr/>
              </p:nvSpPr>
              <p:spPr bwMode="auto">
                <a:xfrm>
                  <a:off x="2508251" y="4240213"/>
                  <a:ext cx="882" cy="245"/>
                </a:xfrm>
                <a:prstGeom prst="rect">
                  <a:avLst/>
                </a:prstGeom>
                <a:noFill/>
                <a:ln w="8" cap="rnd">
                  <a:solidFill>
                    <a:srgbClr val="F79646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138" name="Rectangle 137"/>
              <p:cNvSpPr>
                <a:spLocks noChangeArrowheads="1"/>
              </p:cNvSpPr>
              <p:nvPr/>
            </p:nvSpPr>
            <p:spPr bwMode="auto">
              <a:xfrm>
                <a:off x="2516988" y="4245468"/>
                <a:ext cx="1358500" cy="2573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IMPLEMENTATION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grpSp>
          <p:nvGrpSpPr>
            <p:cNvPr id="55" name="Group 54"/>
            <p:cNvGrpSpPr>
              <a:grpSpLocks/>
            </p:cNvGrpSpPr>
            <p:nvPr/>
          </p:nvGrpSpPr>
          <p:grpSpPr bwMode="auto">
            <a:xfrm>
              <a:off x="3260725" y="1346200"/>
              <a:ext cx="1543050" cy="457200"/>
              <a:chOff x="3260725" y="1346200"/>
              <a:chExt cx="1543222" cy="457186"/>
            </a:xfrm>
          </p:grpSpPr>
          <p:grpSp>
            <p:nvGrpSpPr>
              <p:cNvPr id="60" name="Group 59"/>
              <p:cNvGrpSpPr>
                <a:grpSpLocks/>
              </p:cNvGrpSpPr>
              <p:nvPr/>
            </p:nvGrpSpPr>
            <p:grpSpPr bwMode="auto">
              <a:xfrm>
                <a:off x="3260725" y="1346200"/>
                <a:ext cx="1543222" cy="457186"/>
                <a:chOff x="3260725" y="1346200"/>
                <a:chExt cx="881" cy="261"/>
              </a:xfrm>
            </p:grpSpPr>
            <p:sp>
              <p:nvSpPr>
                <p:cNvPr id="62" name="Rectangle 61"/>
                <p:cNvSpPr>
                  <a:spLocks noChangeArrowheads="1"/>
                </p:cNvSpPr>
                <p:nvPr/>
              </p:nvSpPr>
              <p:spPr bwMode="auto">
                <a:xfrm>
                  <a:off x="3260733" y="1346216"/>
                  <a:ext cx="873" cy="245"/>
                </a:xfrm>
                <a:prstGeom prst="rect">
                  <a:avLst/>
                </a:prstGeom>
                <a:solidFill>
                  <a:srgbClr val="97470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3" name="Rectangle 62"/>
                <p:cNvSpPr>
                  <a:spLocks noChangeArrowheads="1"/>
                </p:cNvSpPr>
                <p:nvPr/>
              </p:nvSpPr>
              <p:spPr bwMode="auto">
                <a:xfrm>
                  <a:off x="3260725" y="1346200"/>
                  <a:ext cx="873" cy="13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4" name="Rectangle 63"/>
                <p:cNvSpPr>
                  <a:spLocks noChangeArrowheads="1"/>
                </p:cNvSpPr>
                <p:nvPr/>
              </p:nvSpPr>
              <p:spPr bwMode="auto">
                <a:xfrm>
                  <a:off x="3260725" y="1346213"/>
                  <a:ext cx="873" cy="7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5" name="Rectangle 64"/>
                <p:cNvSpPr>
                  <a:spLocks noChangeArrowheads="1"/>
                </p:cNvSpPr>
                <p:nvPr/>
              </p:nvSpPr>
              <p:spPr bwMode="auto">
                <a:xfrm>
                  <a:off x="3260725" y="1346220"/>
                  <a:ext cx="873" cy="5"/>
                </a:xfrm>
                <a:prstGeom prst="rect">
                  <a:avLst/>
                </a:prstGeom>
                <a:solidFill>
                  <a:srgbClr val="FABD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6" name="Rectangle 65"/>
                <p:cNvSpPr>
                  <a:spLocks noChangeArrowheads="1"/>
                </p:cNvSpPr>
                <p:nvPr/>
              </p:nvSpPr>
              <p:spPr bwMode="auto">
                <a:xfrm>
                  <a:off x="3260725" y="1346225"/>
                  <a:ext cx="873" cy="4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7" name="Rectangle 66"/>
                <p:cNvSpPr>
                  <a:spLocks noChangeArrowheads="1"/>
                </p:cNvSpPr>
                <p:nvPr/>
              </p:nvSpPr>
              <p:spPr bwMode="auto">
                <a:xfrm>
                  <a:off x="3260725" y="1346229"/>
                  <a:ext cx="873" cy="6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8" name="Rectangle 67"/>
                <p:cNvSpPr>
                  <a:spLocks noChangeArrowheads="1"/>
                </p:cNvSpPr>
                <p:nvPr/>
              </p:nvSpPr>
              <p:spPr bwMode="auto">
                <a:xfrm>
                  <a:off x="3260725" y="1346235"/>
                  <a:ext cx="873" cy="3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69" name="Rectangle 68"/>
                <p:cNvSpPr>
                  <a:spLocks noChangeArrowheads="1"/>
                </p:cNvSpPr>
                <p:nvPr/>
              </p:nvSpPr>
              <p:spPr bwMode="auto">
                <a:xfrm>
                  <a:off x="3260725" y="1346238"/>
                  <a:ext cx="873" cy="3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0" name="Rectangle 69"/>
                <p:cNvSpPr>
                  <a:spLocks noChangeArrowheads="1"/>
                </p:cNvSpPr>
                <p:nvPr/>
              </p:nvSpPr>
              <p:spPr bwMode="auto">
                <a:xfrm>
                  <a:off x="3260725" y="1346241"/>
                  <a:ext cx="873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1" name="Rectangle 70"/>
                <p:cNvSpPr>
                  <a:spLocks noChangeArrowheads="1"/>
                </p:cNvSpPr>
                <p:nvPr/>
              </p:nvSpPr>
              <p:spPr bwMode="auto">
                <a:xfrm>
                  <a:off x="3260725" y="1346245"/>
                  <a:ext cx="873" cy="3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2" name="Rectangle 71"/>
                <p:cNvSpPr>
                  <a:spLocks noChangeArrowheads="1"/>
                </p:cNvSpPr>
                <p:nvPr/>
              </p:nvSpPr>
              <p:spPr bwMode="auto">
                <a:xfrm>
                  <a:off x="3260725" y="1346248"/>
                  <a:ext cx="873" cy="3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3" name="Rectangle 72"/>
                <p:cNvSpPr>
                  <a:spLocks noChangeArrowheads="1"/>
                </p:cNvSpPr>
                <p:nvPr/>
              </p:nvSpPr>
              <p:spPr bwMode="auto">
                <a:xfrm>
                  <a:off x="3260725" y="1346251"/>
                  <a:ext cx="873" cy="2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4" name="Rectangle 73"/>
                <p:cNvSpPr>
                  <a:spLocks noChangeArrowheads="1"/>
                </p:cNvSpPr>
                <p:nvPr/>
              </p:nvSpPr>
              <p:spPr bwMode="auto">
                <a:xfrm>
                  <a:off x="3260725" y="1346253"/>
                  <a:ext cx="873" cy="2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5" name="Rectangle 74"/>
                <p:cNvSpPr>
                  <a:spLocks noChangeArrowheads="1"/>
                </p:cNvSpPr>
                <p:nvPr/>
              </p:nvSpPr>
              <p:spPr bwMode="auto">
                <a:xfrm>
                  <a:off x="3260725" y="1346255"/>
                  <a:ext cx="873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6" name="Rectangle 75"/>
                <p:cNvSpPr>
                  <a:spLocks noChangeArrowheads="1"/>
                </p:cNvSpPr>
                <p:nvPr/>
              </p:nvSpPr>
              <p:spPr bwMode="auto">
                <a:xfrm>
                  <a:off x="3260725" y="1346257"/>
                  <a:ext cx="873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7" name="Rectangle 76"/>
                <p:cNvSpPr>
                  <a:spLocks noChangeArrowheads="1"/>
                </p:cNvSpPr>
                <p:nvPr/>
              </p:nvSpPr>
              <p:spPr bwMode="auto">
                <a:xfrm>
                  <a:off x="3260725" y="1346259"/>
                  <a:ext cx="873" cy="3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8" name="Rectangle 77"/>
                <p:cNvSpPr>
                  <a:spLocks noChangeArrowheads="1"/>
                </p:cNvSpPr>
                <p:nvPr/>
              </p:nvSpPr>
              <p:spPr bwMode="auto">
                <a:xfrm>
                  <a:off x="3260725" y="1346262"/>
                  <a:ext cx="873" cy="2"/>
                </a:xfrm>
                <a:prstGeom prst="rect">
                  <a:avLst/>
                </a:prstGeom>
                <a:solidFill>
                  <a:srgbClr val="F9AB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79" name="Rectangle 78"/>
                <p:cNvSpPr>
                  <a:spLocks noChangeArrowheads="1"/>
                </p:cNvSpPr>
                <p:nvPr/>
              </p:nvSpPr>
              <p:spPr bwMode="auto">
                <a:xfrm>
                  <a:off x="3260725" y="1346264"/>
                  <a:ext cx="873" cy="2"/>
                </a:xfrm>
                <a:prstGeom prst="rect">
                  <a:avLst/>
                </a:prstGeom>
                <a:solidFill>
                  <a:srgbClr val="F8AA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0" name="Rectangle 79"/>
                <p:cNvSpPr>
                  <a:spLocks noChangeArrowheads="1"/>
                </p:cNvSpPr>
                <p:nvPr/>
              </p:nvSpPr>
              <p:spPr bwMode="auto">
                <a:xfrm>
                  <a:off x="3260725" y="1346266"/>
                  <a:ext cx="873" cy="3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1" name="Rectangle 80"/>
                <p:cNvSpPr>
                  <a:spLocks noChangeArrowheads="1"/>
                </p:cNvSpPr>
                <p:nvPr/>
              </p:nvSpPr>
              <p:spPr bwMode="auto">
                <a:xfrm>
                  <a:off x="3260725" y="1346269"/>
                  <a:ext cx="873" cy="2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2" name="Rectangle 81"/>
                <p:cNvSpPr>
                  <a:spLocks noChangeArrowheads="1"/>
                </p:cNvSpPr>
                <p:nvPr/>
              </p:nvSpPr>
              <p:spPr bwMode="auto">
                <a:xfrm>
                  <a:off x="3260725" y="1346271"/>
                  <a:ext cx="873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3" name="Rectangle 82"/>
                <p:cNvSpPr>
                  <a:spLocks noChangeArrowheads="1"/>
                </p:cNvSpPr>
                <p:nvPr/>
              </p:nvSpPr>
              <p:spPr bwMode="auto">
                <a:xfrm>
                  <a:off x="3260725" y="1346273"/>
                  <a:ext cx="873" cy="2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4" name="Rectangle 83"/>
                <p:cNvSpPr>
                  <a:spLocks noChangeArrowheads="1"/>
                </p:cNvSpPr>
                <p:nvPr/>
              </p:nvSpPr>
              <p:spPr bwMode="auto">
                <a:xfrm>
                  <a:off x="3260725" y="1346275"/>
                  <a:ext cx="873" cy="1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5" name="Rectangle 84"/>
                <p:cNvSpPr>
                  <a:spLocks noChangeArrowheads="1"/>
                </p:cNvSpPr>
                <p:nvPr/>
              </p:nvSpPr>
              <p:spPr bwMode="auto">
                <a:xfrm>
                  <a:off x="3260725" y="1346276"/>
                  <a:ext cx="873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3260725" y="1346278"/>
                  <a:ext cx="873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7" name="Rectangle 86"/>
                <p:cNvSpPr>
                  <a:spLocks noChangeArrowheads="1"/>
                </p:cNvSpPr>
                <p:nvPr/>
              </p:nvSpPr>
              <p:spPr bwMode="auto">
                <a:xfrm>
                  <a:off x="3260725" y="1346280"/>
                  <a:ext cx="873" cy="2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8" name="Rectangle 87"/>
                <p:cNvSpPr>
                  <a:spLocks noChangeArrowheads="1"/>
                </p:cNvSpPr>
                <p:nvPr/>
              </p:nvSpPr>
              <p:spPr bwMode="auto">
                <a:xfrm>
                  <a:off x="3260725" y="1346282"/>
                  <a:ext cx="873" cy="3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89" name="Rectangle 88"/>
                <p:cNvSpPr>
                  <a:spLocks noChangeArrowheads="1"/>
                </p:cNvSpPr>
                <p:nvPr/>
              </p:nvSpPr>
              <p:spPr bwMode="auto">
                <a:xfrm>
                  <a:off x="3260725" y="1346285"/>
                  <a:ext cx="873" cy="2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0" name="Rectangle 89"/>
                <p:cNvSpPr>
                  <a:spLocks noChangeArrowheads="1"/>
                </p:cNvSpPr>
                <p:nvPr/>
              </p:nvSpPr>
              <p:spPr bwMode="auto">
                <a:xfrm>
                  <a:off x="3260725" y="1346287"/>
                  <a:ext cx="873" cy="2"/>
                </a:xfrm>
                <a:prstGeom prst="rect">
                  <a:avLst/>
                </a:prstGeom>
                <a:solidFill>
                  <a:srgbClr val="F89E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1" name="Rectangle 90"/>
                <p:cNvSpPr>
                  <a:spLocks noChangeArrowheads="1"/>
                </p:cNvSpPr>
                <p:nvPr/>
              </p:nvSpPr>
              <p:spPr bwMode="auto">
                <a:xfrm>
                  <a:off x="3260725" y="1346289"/>
                  <a:ext cx="873" cy="2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2" name="Rectangle 91"/>
                <p:cNvSpPr>
                  <a:spLocks noChangeArrowheads="1"/>
                </p:cNvSpPr>
                <p:nvPr/>
              </p:nvSpPr>
              <p:spPr bwMode="auto">
                <a:xfrm>
                  <a:off x="3260725" y="1346291"/>
                  <a:ext cx="873" cy="3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3" name="Rectangle 92"/>
                <p:cNvSpPr>
                  <a:spLocks noChangeArrowheads="1"/>
                </p:cNvSpPr>
                <p:nvPr/>
              </p:nvSpPr>
              <p:spPr bwMode="auto">
                <a:xfrm>
                  <a:off x="3260725" y="1346294"/>
                  <a:ext cx="873" cy="3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4" name="Rectangle 93"/>
                <p:cNvSpPr>
                  <a:spLocks noChangeArrowheads="1"/>
                </p:cNvSpPr>
                <p:nvPr/>
              </p:nvSpPr>
              <p:spPr bwMode="auto">
                <a:xfrm>
                  <a:off x="3260725" y="1346297"/>
                  <a:ext cx="873" cy="3"/>
                </a:xfrm>
                <a:prstGeom prst="rect">
                  <a:avLst/>
                </a:prstGeom>
                <a:solidFill>
                  <a:srgbClr val="F79B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5" name="Rectangle 94"/>
                <p:cNvSpPr>
                  <a:spLocks noChangeArrowheads="1"/>
                </p:cNvSpPr>
                <p:nvPr/>
              </p:nvSpPr>
              <p:spPr bwMode="auto">
                <a:xfrm>
                  <a:off x="3260725" y="1346300"/>
                  <a:ext cx="873" cy="2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6" name="Rectangle 95"/>
                <p:cNvSpPr>
                  <a:spLocks noChangeArrowheads="1"/>
                </p:cNvSpPr>
                <p:nvPr/>
              </p:nvSpPr>
              <p:spPr bwMode="auto">
                <a:xfrm>
                  <a:off x="3260725" y="1346302"/>
                  <a:ext cx="873" cy="4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7" name="Rectangle 96"/>
                <p:cNvSpPr>
                  <a:spLocks noChangeArrowheads="1"/>
                </p:cNvSpPr>
                <p:nvPr/>
              </p:nvSpPr>
              <p:spPr bwMode="auto">
                <a:xfrm>
                  <a:off x="3260725" y="1346306"/>
                  <a:ext cx="873" cy="6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8" name="Rectangle 97"/>
                <p:cNvSpPr>
                  <a:spLocks noChangeArrowheads="1"/>
                </p:cNvSpPr>
                <p:nvPr/>
              </p:nvSpPr>
              <p:spPr bwMode="auto">
                <a:xfrm>
                  <a:off x="3260725" y="1346312"/>
                  <a:ext cx="873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9" name="Rectangle 98"/>
                <p:cNvSpPr>
                  <a:spLocks noChangeArrowheads="1"/>
                </p:cNvSpPr>
                <p:nvPr/>
              </p:nvSpPr>
              <p:spPr bwMode="auto">
                <a:xfrm>
                  <a:off x="3260725" y="1346317"/>
                  <a:ext cx="873" cy="14"/>
                </a:xfrm>
                <a:prstGeom prst="rect">
                  <a:avLst/>
                </a:prstGeom>
                <a:solidFill>
                  <a:srgbClr val="F796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0" name="Rectangle 99"/>
                <p:cNvSpPr>
                  <a:spLocks noChangeArrowheads="1"/>
                </p:cNvSpPr>
                <p:nvPr/>
              </p:nvSpPr>
              <p:spPr bwMode="auto">
                <a:xfrm>
                  <a:off x="3260725" y="1346331"/>
                  <a:ext cx="873" cy="5"/>
                </a:xfrm>
                <a:prstGeom prst="rect">
                  <a:avLst/>
                </a:prstGeom>
                <a:solidFill>
                  <a:srgbClr val="F797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1" name="Rectangle 100"/>
                <p:cNvSpPr>
                  <a:spLocks noChangeArrowheads="1"/>
                </p:cNvSpPr>
                <p:nvPr/>
              </p:nvSpPr>
              <p:spPr bwMode="auto">
                <a:xfrm>
                  <a:off x="3260725" y="1346336"/>
                  <a:ext cx="873" cy="5"/>
                </a:xfrm>
                <a:prstGeom prst="rect">
                  <a:avLst/>
                </a:prstGeom>
                <a:solidFill>
                  <a:srgbClr val="F798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2" name="Rectangle 101"/>
                <p:cNvSpPr>
                  <a:spLocks noChangeArrowheads="1"/>
                </p:cNvSpPr>
                <p:nvPr/>
              </p:nvSpPr>
              <p:spPr bwMode="auto">
                <a:xfrm>
                  <a:off x="3260725" y="1346341"/>
                  <a:ext cx="873" cy="3"/>
                </a:xfrm>
                <a:prstGeom prst="rect">
                  <a:avLst/>
                </a:prstGeom>
                <a:solidFill>
                  <a:srgbClr val="F79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3" name="Rectangle 102"/>
                <p:cNvSpPr>
                  <a:spLocks noChangeArrowheads="1"/>
                </p:cNvSpPr>
                <p:nvPr/>
              </p:nvSpPr>
              <p:spPr bwMode="auto">
                <a:xfrm>
                  <a:off x="3260725" y="1346344"/>
                  <a:ext cx="873" cy="3"/>
                </a:xfrm>
                <a:prstGeom prst="rect">
                  <a:avLst/>
                </a:prstGeom>
                <a:solidFill>
                  <a:srgbClr val="F79A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4" name="Rectangle 103"/>
                <p:cNvSpPr>
                  <a:spLocks noChangeArrowheads="1"/>
                </p:cNvSpPr>
                <p:nvPr/>
              </p:nvSpPr>
              <p:spPr bwMode="auto">
                <a:xfrm>
                  <a:off x="3260725" y="1346347"/>
                  <a:ext cx="873" cy="3"/>
                </a:xfrm>
                <a:prstGeom prst="rect">
                  <a:avLst/>
                </a:prstGeom>
                <a:solidFill>
                  <a:srgbClr val="F79A5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5" name="Rectangle 104"/>
                <p:cNvSpPr>
                  <a:spLocks noChangeArrowheads="1"/>
                </p:cNvSpPr>
                <p:nvPr/>
              </p:nvSpPr>
              <p:spPr bwMode="auto">
                <a:xfrm>
                  <a:off x="3260725" y="1346350"/>
                  <a:ext cx="873" cy="2"/>
                </a:xfrm>
                <a:prstGeom prst="rect">
                  <a:avLst/>
                </a:prstGeom>
                <a:solidFill>
                  <a:srgbClr val="F79C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6" name="Rectangle 105"/>
                <p:cNvSpPr>
                  <a:spLocks noChangeArrowheads="1"/>
                </p:cNvSpPr>
                <p:nvPr/>
              </p:nvSpPr>
              <p:spPr bwMode="auto">
                <a:xfrm>
                  <a:off x="3260725" y="1346352"/>
                  <a:ext cx="873" cy="3"/>
                </a:xfrm>
                <a:prstGeom prst="rect">
                  <a:avLst/>
                </a:prstGeom>
                <a:solidFill>
                  <a:srgbClr val="F79D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7" name="Rectangle 106"/>
                <p:cNvSpPr>
                  <a:spLocks noChangeArrowheads="1"/>
                </p:cNvSpPr>
                <p:nvPr/>
              </p:nvSpPr>
              <p:spPr bwMode="auto">
                <a:xfrm>
                  <a:off x="3260725" y="1346355"/>
                  <a:ext cx="873" cy="2"/>
                </a:xfrm>
                <a:prstGeom prst="rect">
                  <a:avLst/>
                </a:prstGeom>
                <a:solidFill>
                  <a:srgbClr val="F89E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8" name="Rectangle 107"/>
                <p:cNvSpPr>
                  <a:spLocks noChangeArrowheads="1"/>
                </p:cNvSpPr>
                <p:nvPr/>
              </p:nvSpPr>
              <p:spPr bwMode="auto">
                <a:xfrm>
                  <a:off x="3260725" y="1346357"/>
                  <a:ext cx="873" cy="2"/>
                </a:xfrm>
                <a:prstGeom prst="rect">
                  <a:avLst/>
                </a:prstGeom>
                <a:solidFill>
                  <a:srgbClr val="F89E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09" name="Rectangle 108"/>
                <p:cNvSpPr>
                  <a:spLocks noChangeArrowheads="1"/>
                </p:cNvSpPr>
                <p:nvPr/>
              </p:nvSpPr>
              <p:spPr bwMode="auto">
                <a:xfrm>
                  <a:off x="3260725" y="1346359"/>
                  <a:ext cx="873" cy="3"/>
                </a:xfrm>
                <a:prstGeom prst="rect">
                  <a:avLst/>
                </a:prstGeom>
                <a:solidFill>
                  <a:srgbClr val="F89F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0" name="Rectangle 109"/>
                <p:cNvSpPr>
                  <a:spLocks noChangeArrowheads="1"/>
                </p:cNvSpPr>
                <p:nvPr/>
              </p:nvSpPr>
              <p:spPr bwMode="auto">
                <a:xfrm>
                  <a:off x="3260725" y="1346362"/>
                  <a:ext cx="873" cy="2"/>
                </a:xfrm>
                <a:prstGeom prst="rect">
                  <a:avLst/>
                </a:prstGeom>
                <a:solidFill>
                  <a:srgbClr val="F8A1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1" name="Rectangle 110"/>
                <p:cNvSpPr>
                  <a:spLocks noChangeArrowheads="1"/>
                </p:cNvSpPr>
                <p:nvPr/>
              </p:nvSpPr>
              <p:spPr bwMode="auto">
                <a:xfrm>
                  <a:off x="3260725" y="1346364"/>
                  <a:ext cx="873" cy="2"/>
                </a:xfrm>
                <a:prstGeom prst="rect">
                  <a:avLst/>
                </a:prstGeom>
                <a:solidFill>
                  <a:srgbClr val="F8A2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2" name="Rectangle 111"/>
                <p:cNvSpPr>
                  <a:spLocks noChangeArrowheads="1"/>
                </p:cNvSpPr>
                <p:nvPr/>
              </p:nvSpPr>
              <p:spPr bwMode="auto">
                <a:xfrm>
                  <a:off x="3260725" y="1346366"/>
                  <a:ext cx="873" cy="2"/>
                </a:xfrm>
                <a:prstGeom prst="rect">
                  <a:avLst/>
                </a:prstGeom>
                <a:solidFill>
                  <a:srgbClr val="F8A3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3" name="Rectangle 112"/>
                <p:cNvSpPr>
                  <a:spLocks noChangeArrowheads="1"/>
                </p:cNvSpPr>
                <p:nvPr/>
              </p:nvSpPr>
              <p:spPr bwMode="auto">
                <a:xfrm>
                  <a:off x="3260725" y="1346368"/>
                  <a:ext cx="873" cy="2"/>
                </a:xfrm>
                <a:prstGeom prst="rect">
                  <a:avLst/>
                </a:prstGeom>
                <a:solidFill>
                  <a:srgbClr val="F8A4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4" name="Rectangle 113"/>
                <p:cNvSpPr>
                  <a:spLocks noChangeArrowheads="1"/>
                </p:cNvSpPr>
                <p:nvPr/>
              </p:nvSpPr>
              <p:spPr bwMode="auto">
                <a:xfrm>
                  <a:off x="3260725" y="1346370"/>
                  <a:ext cx="873" cy="2"/>
                </a:xfrm>
                <a:prstGeom prst="rect">
                  <a:avLst/>
                </a:prstGeom>
                <a:solidFill>
                  <a:srgbClr val="F8A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5" name="Rectangle 114"/>
                <p:cNvSpPr>
                  <a:spLocks noChangeArrowheads="1"/>
                </p:cNvSpPr>
                <p:nvPr/>
              </p:nvSpPr>
              <p:spPr bwMode="auto">
                <a:xfrm>
                  <a:off x="3260725" y="1346372"/>
                  <a:ext cx="873" cy="1"/>
                </a:xfrm>
                <a:prstGeom prst="rect">
                  <a:avLst/>
                </a:prstGeom>
                <a:solidFill>
                  <a:srgbClr val="F8A6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6" name="Rectangle 115"/>
                <p:cNvSpPr>
                  <a:spLocks noChangeArrowheads="1"/>
                </p:cNvSpPr>
                <p:nvPr/>
              </p:nvSpPr>
              <p:spPr bwMode="auto">
                <a:xfrm>
                  <a:off x="3260725" y="1346373"/>
                  <a:ext cx="873" cy="2"/>
                </a:xfrm>
                <a:prstGeom prst="rect">
                  <a:avLst/>
                </a:prstGeom>
                <a:solidFill>
                  <a:srgbClr val="F8A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7" name="Rectangle 116"/>
                <p:cNvSpPr>
                  <a:spLocks noChangeArrowheads="1"/>
                </p:cNvSpPr>
                <p:nvPr/>
              </p:nvSpPr>
              <p:spPr bwMode="auto">
                <a:xfrm>
                  <a:off x="3260725" y="1346375"/>
                  <a:ext cx="873" cy="3"/>
                </a:xfrm>
                <a:prstGeom prst="rect">
                  <a:avLst/>
                </a:prstGeom>
                <a:solidFill>
                  <a:srgbClr val="F8A8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8" name="Rectangle 117"/>
                <p:cNvSpPr>
                  <a:spLocks noChangeArrowheads="1"/>
                </p:cNvSpPr>
                <p:nvPr/>
              </p:nvSpPr>
              <p:spPr bwMode="auto">
                <a:xfrm>
                  <a:off x="3260725" y="1346378"/>
                  <a:ext cx="873" cy="2"/>
                </a:xfrm>
                <a:prstGeom prst="rect">
                  <a:avLst/>
                </a:prstGeom>
                <a:solidFill>
                  <a:srgbClr val="F8A9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9" name="Rectangle 118"/>
                <p:cNvSpPr>
                  <a:spLocks noChangeArrowheads="1"/>
                </p:cNvSpPr>
                <p:nvPr/>
              </p:nvSpPr>
              <p:spPr bwMode="auto">
                <a:xfrm>
                  <a:off x="3260725" y="1346380"/>
                  <a:ext cx="873" cy="2"/>
                </a:xfrm>
                <a:prstGeom prst="rect">
                  <a:avLst/>
                </a:prstGeom>
                <a:solidFill>
                  <a:srgbClr val="F8AA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0" name="Rectangle 119"/>
                <p:cNvSpPr>
                  <a:spLocks noChangeArrowheads="1"/>
                </p:cNvSpPr>
                <p:nvPr/>
              </p:nvSpPr>
              <p:spPr bwMode="auto">
                <a:xfrm>
                  <a:off x="3260725" y="1346382"/>
                  <a:ext cx="873" cy="3"/>
                </a:xfrm>
                <a:prstGeom prst="rect">
                  <a:avLst/>
                </a:prstGeom>
                <a:solidFill>
                  <a:srgbClr val="F9AB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1" name="Rectangle 120"/>
                <p:cNvSpPr>
                  <a:spLocks noChangeArrowheads="1"/>
                </p:cNvSpPr>
                <p:nvPr/>
              </p:nvSpPr>
              <p:spPr bwMode="auto">
                <a:xfrm>
                  <a:off x="3260725" y="1346385"/>
                  <a:ext cx="873" cy="2"/>
                </a:xfrm>
                <a:prstGeom prst="rect">
                  <a:avLst/>
                </a:prstGeom>
                <a:solidFill>
                  <a:srgbClr val="F9AD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2" name="Rectangle 121"/>
                <p:cNvSpPr>
                  <a:spLocks noChangeArrowheads="1"/>
                </p:cNvSpPr>
                <p:nvPr/>
              </p:nvSpPr>
              <p:spPr bwMode="auto">
                <a:xfrm>
                  <a:off x="3260725" y="1346387"/>
                  <a:ext cx="873" cy="2"/>
                </a:xfrm>
                <a:prstGeom prst="rect">
                  <a:avLst/>
                </a:prstGeom>
                <a:solidFill>
                  <a:srgbClr val="F9AE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3" name="Rectangle 122"/>
                <p:cNvSpPr>
                  <a:spLocks noChangeArrowheads="1"/>
                </p:cNvSpPr>
                <p:nvPr/>
              </p:nvSpPr>
              <p:spPr bwMode="auto">
                <a:xfrm>
                  <a:off x="3260725" y="1346389"/>
                  <a:ext cx="873" cy="2"/>
                </a:xfrm>
                <a:prstGeom prst="rect">
                  <a:avLst/>
                </a:prstGeom>
                <a:solidFill>
                  <a:srgbClr val="F9AF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4" name="Rectangle 123"/>
                <p:cNvSpPr>
                  <a:spLocks noChangeArrowheads="1"/>
                </p:cNvSpPr>
                <p:nvPr/>
              </p:nvSpPr>
              <p:spPr bwMode="auto">
                <a:xfrm>
                  <a:off x="3260725" y="1346391"/>
                  <a:ext cx="873" cy="3"/>
                </a:xfrm>
                <a:prstGeom prst="rect">
                  <a:avLst/>
                </a:prstGeom>
                <a:solidFill>
                  <a:srgbClr val="F9B07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5" name="Rectangle 124"/>
                <p:cNvSpPr>
                  <a:spLocks noChangeArrowheads="1"/>
                </p:cNvSpPr>
                <p:nvPr/>
              </p:nvSpPr>
              <p:spPr bwMode="auto">
                <a:xfrm>
                  <a:off x="3260725" y="1346394"/>
                  <a:ext cx="873" cy="2"/>
                </a:xfrm>
                <a:prstGeom prst="rect">
                  <a:avLst/>
                </a:prstGeom>
                <a:solidFill>
                  <a:srgbClr val="F9B1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6" name="Rectangle 125"/>
                <p:cNvSpPr>
                  <a:spLocks noChangeArrowheads="1"/>
                </p:cNvSpPr>
                <p:nvPr/>
              </p:nvSpPr>
              <p:spPr bwMode="auto">
                <a:xfrm>
                  <a:off x="3260725" y="1346396"/>
                  <a:ext cx="873" cy="2"/>
                </a:xfrm>
                <a:prstGeom prst="rect">
                  <a:avLst/>
                </a:prstGeom>
                <a:solidFill>
                  <a:srgbClr val="F9B3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7" name="Rectangle 126"/>
                <p:cNvSpPr>
                  <a:spLocks noChangeArrowheads="1"/>
                </p:cNvSpPr>
                <p:nvPr/>
              </p:nvSpPr>
              <p:spPr bwMode="auto">
                <a:xfrm>
                  <a:off x="3260725" y="1346398"/>
                  <a:ext cx="873" cy="4"/>
                </a:xfrm>
                <a:prstGeom prst="rect">
                  <a:avLst/>
                </a:prstGeom>
                <a:solidFill>
                  <a:srgbClr val="F9B4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8" name="Rectangle 127"/>
                <p:cNvSpPr>
                  <a:spLocks noChangeArrowheads="1"/>
                </p:cNvSpPr>
                <p:nvPr/>
              </p:nvSpPr>
              <p:spPr bwMode="auto">
                <a:xfrm>
                  <a:off x="3260725" y="1346402"/>
                  <a:ext cx="873" cy="4"/>
                </a:xfrm>
                <a:prstGeom prst="rect">
                  <a:avLst/>
                </a:prstGeom>
                <a:solidFill>
                  <a:srgbClr val="F9B6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29" name="Rectangle 128"/>
                <p:cNvSpPr>
                  <a:spLocks noChangeArrowheads="1"/>
                </p:cNvSpPr>
                <p:nvPr/>
              </p:nvSpPr>
              <p:spPr bwMode="auto">
                <a:xfrm>
                  <a:off x="3260725" y="1346406"/>
                  <a:ext cx="873" cy="3"/>
                </a:xfrm>
                <a:prstGeom prst="rect">
                  <a:avLst/>
                </a:prstGeom>
                <a:solidFill>
                  <a:srgbClr val="F9B78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0" name="Rectangle 129"/>
                <p:cNvSpPr>
                  <a:spLocks noChangeArrowheads="1"/>
                </p:cNvSpPr>
                <p:nvPr/>
              </p:nvSpPr>
              <p:spPr bwMode="auto">
                <a:xfrm>
                  <a:off x="3260725" y="1346409"/>
                  <a:ext cx="873" cy="4"/>
                </a:xfrm>
                <a:prstGeom prst="rect">
                  <a:avLst/>
                </a:prstGeom>
                <a:solidFill>
                  <a:srgbClr val="F9B8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1" name="Rectangle 130"/>
                <p:cNvSpPr>
                  <a:spLocks noChangeArrowheads="1"/>
                </p:cNvSpPr>
                <p:nvPr/>
              </p:nvSpPr>
              <p:spPr bwMode="auto">
                <a:xfrm>
                  <a:off x="3260725" y="1346413"/>
                  <a:ext cx="873" cy="5"/>
                </a:xfrm>
                <a:prstGeom prst="rect">
                  <a:avLst/>
                </a:prstGeom>
                <a:solidFill>
                  <a:srgbClr val="FABA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2" name="Rectangle 131"/>
                <p:cNvSpPr>
                  <a:spLocks noChangeArrowheads="1"/>
                </p:cNvSpPr>
                <p:nvPr/>
              </p:nvSpPr>
              <p:spPr bwMode="auto">
                <a:xfrm>
                  <a:off x="3260725" y="1346418"/>
                  <a:ext cx="873" cy="5"/>
                </a:xfrm>
                <a:prstGeom prst="rect">
                  <a:avLst/>
                </a:prstGeom>
                <a:solidFill>
                  <a:srgbClr val="FABB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3" name="Rectangle 132"/>
                <p:cNvSpPr>
                  <a:spLocks noChangeArrowheads="1"/>
                </p:cNvSpPr>
                <p:nvPr/>
              </p:nvSpPr>
              <p:spPr bwMode="auto">
                <a:xfrm>
                  <a:off x="3260725" y="1346423"/>
                  <a:ext cx="873" cy="5"/>
                </a:xfrm>
                <a:prstGeom prst="rect">
                  <a:avLst/>
                </a:prstGeom>
                <a:solidFill>
                  <a:srgbClr val="FABC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4" name="Rectangle 133"/>
                <p:cNvSpPr>
                  <a:spLocks noChangeArrowheads="1"/>
                </p:cNvSpPr>
                <p:nvPr/>
              </p:nvSpPr>
              <p:spPr bwMode="auto">
                <a:xfrm>
                  <a:off x="3260725" y="1346428"/>
                  <a:ext cx="873" cy="12"/>
                </a:xfrm>
                <a:prstGeom prst="rect">
                  <a:avLst/>
                </a:prstGeom>
                <a:solidFill>
                  <a:srgbClr val="FABD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5" name="Rectangle 134"/>
                <p:cNvSpPr>
                  <a:spLocks noChangeArrowheads="1"/>
                </p:cNvSpPr>
                <p:nvPr/>
              </p:nvSpPr>
              <p:spPr bwMode="auto">
                <a:xfrm>
                  <a:off x="3260725" y="1346440"/>
                  <a:ext cx="873" cy="5"/>
                </a:xfrm>
                <a:prstGeom prst="rect">
                  <a:avLst/>
                </a:prstGeom>
                <a:solidFill>
                  <a:srgbClr val="FAB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36" name="Rectangle 135"/>
                <p:cNvSpPr>
                  <a:spLocks noChangeArrowheads="1"/>
                </p:cNvSpPr>
                <p:nvPr/>
              </p:nvSpPr>
              <p:spPr bwMode="auto">
                <a:xfrm>
                  <a:off x="3260725" y="1346200"/>
                  <a:ext cx="873" cy="245"/>
                </a:xfrm>
                <a:prstGeom prst="rect">
                  <a:avLst/>
                </a:prstGeom>
                <a:noFill/>
                <a:ln w="8" cap="rnd">
                  <a:solidFill>
                    <a:srgbClr val="F79646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61" name="Rectangle 60"/>
              <p:cNvSpPr>
                <a:spLocks noChangeArrowheads="1"/>
              </p:cNvSpPr>
              <p:nvPr/>
            </p:nvSpPr>
            <p:spPr bwMode="auto">
              <a:xfrm>
                <a:off x="3381326" y="1426039"/>
                <a:ext cx="1223146" cy="2171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fontAlgn="base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kern="1200">
                    <a:solidFill>
                      <a:srgbClr val="000000"/>
                    </a:solidFill>
                    <a:effectLst/>
                    <a:latin typeface="Calibri"/>
                    <a:ea typeface="Times New Roman"/>
                    <a:cs typeface="Times New Roman"/>
                  </a:rPr>
                  <a:t>PROGRAMMING</a:t>
                </a:r>
                <a:endParaRPr lang="en-GB" sz="1200">
                  <a:effectLst/>
                  <a:latin typeface="Times New Roman"/>
                  <a:ea typeface="Times New Roman"/>
                </a:endParaRPr>
              </a:p>
            </p:txBody>
          </p:sp>
        </p:grpSp>
        <p:sp>
          <p:nvSpPr>
            <p:cNvPr id="56" name="Oval 55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098800" y="2794000"/>
              <a:ext cx="238125" cy="23018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/>
            </a:p>
          </p:txBody>
        </p:sp>
        <p:sp>
          <p:nvSpPr>
            <p:cNvPr id="57" name="TextBox 2"/>
            <p:cNvSpPr txBox="1"/>
            <p:nvPr/>
          </p:nvSpPr>
          <p:spPr>
            <a:xfrm>
              <a:off x="5302209" y="2538413"/>
              <a:ext cx="1030604" cy="861774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 dirty="0">
                  <a:solidFill>
                    <a:srgbClr val="000000"/>
                  </a:solidFill>
                  <a:effectLst/>
                  <a:ea typeface="Times New Roman"/>
                </a:rPr>
                <a:t>Quality Support Groups</a:t>
              </a:r>
              <a:endParaRPr lang="en-GB" sz="1000" dirty="0">
                <a:effectLst/>
                <a:latin typeface="Times New Roman"/>
                <a:ea typeface="Times New Roman"/>
              </a:endParaRPr>
            </a:p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 dirty="0">
                  <a:solidFill>
                    <a:srgbClr val="000000"/>
                  </a:solidFill>
                  <a:effectLst/>
                  <a:ea typeface="Times New Roman"/>
                </a:rPr>
                <a:t>(peer reviews)</a:t>
              </a:r>
              <a:endParaRPr lang="en-GB" sz="10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58" name="TextBox 776"/>
            <p:cNvSpPr txBox="1"/>
            <p:nvPr/>
          </p:nvSpPr>
          <p:spPr>
            <a:xfrm>
              <a:off x="3381313" y="179271"/>
              <a:ext cx="1030604" cy="553998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fr-BE" sz="1000" kern="1200" dirty="0">
                  <a:solidFill>
                    <a:srgbClr val="000000"/>
                  </a:solidFill>
                  <a:effectLst/>
                  <a:ea typeface="Times New Roman"/>
                </a:rPr>
                <a:t>Team Country Meetings</a:t>
              </a:r>
              <a:endParaRPr lang="en-GB" sz="10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59" name="TextBox 4"/>
            <p:cNvSpPr txBox="1"/>
            <p:nvPr/>
          </p:nvSpPr>
          <p:spPr>
            <a:xfrm>
              <a:off x="-1" y="3611996"/>
              <a:ext cx="1444503" cy="110799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8000">
                  <a:schemeClr val="bg1">
                    <a:lumMod val="9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 w="12700" cmpd="sng"/>
            <a:effectLst>
              <a:reflection stA="29000" endPos="65000" dist="50800" dir="5400000" sy="-100000" algn="bl" rotWithShape="0"/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10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Monitoring</a:t>
              </a:r>
            </a:p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10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Internal </a:t>
              </a:r>
              <a:r>
                <a:rPr lang="en-GB" sz="1100" dirty="0" smtClean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 but possibly </a:t>
              </a:r>
              <a:endParaRPr lang="en-GB" sz="1100" dirty="0">
                <a:solidFill>
                  <a:srgbClr val="000000"/>
                </a:solidFill>
                <a:latin typeface="Calibri"/>
                <a:ea typeface="Times New Roman"/>
                <a:cs typeface="Times New Roman"/>
              </a:endParaRPr>
            </a:p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10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external (ROM)</a:t>
              </a:r>
            </a:p>
            <a:p>
              <a:pPr marL="0" marR="0" fontAlgn="base">
                <a:spcBef>
                  <a:spcPts val="0"/>
                </a:spcBef>
                <a:spcAft>
                  <a:spcPts val="0"/>
                </a:spcAft>
              </a:pPr>
              <a:r>
                <a:rPr lang="en-GB" sz="1100" dirty="0" smtClean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review </a:t>
              </a:r>
              <a:r>
                <a:rPr lang="en-GB" sz="110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missions  and support to result reporting missions</a:t>
              </a:r>
            </a:p>
          </p:txBody>
        </p:sp>
      </p:grpSp>
      <p:sp>
        <p:nvSpPr>
          <p:cNvPr id="5" name="Text Box 627"/>
          <p:cNvSpPr txBox="1">
            <a:spLocks noChangeArrowheads="1"/>
          </p:cNvSpPr>
          <p:nvPr/>
        </p:nvSpPr>
        <p:spPr bwMode="auto">
          <a:xfrm>
            <a:off x="5794505" y="5293411"/>
            <a:ext cx="2076450" cy="287338"/>
          </a:xfrm>
          <a:prstGeom prst="rect">
            <a:avLst/>
          </a:prstGeom>
          <a:solidFill>
            <a:srgbClr val="4F81BD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FINANCING DECISION</a:t>
            </a:r>
            <a:endParaRPr kumimoji="0" lang="fr-BE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 Box 632"/>
          <p:cNvSpPr txBox="1">
            <a:spLocks noChangeArrowheads="1"/>
          </p:cNvSpPr>
          <p:nvPr/>
        </p:nvSpPr>
        <p:spPr bwMode="auto">
          <a:xfrm>
            <a:off x="5812768" y="5579613"/>
            <a:ext cx="2076450" cy="469900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Possible financing agreement</a:t>
            </a:r>
            <a:endParaRPr kumimoji="0" lang="fr-BE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Contractual arrangements</a:t>
            </a:r>
            <a:endParaRPr kumimoji="0" lang="fr-BE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23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0" name="Rectangle 699"/>
          <p:cNvSpPr>
            <a:spLocks noChangeArrowheads="1"/>
          </p:cNvSpPr>
          <p:nvPr/>
        </p:nvSpPr>
        <p:spPr bwMode="auto">
          <a:xfrm>
            <a:off x="0" y="9144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13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lNkHYa0k6bNz9G.oO0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0LEruG1mUOsv8qnSB_C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ZWMYrmkq622WiSS1m5w"/>
</p:tagLst>
</file>

<file path=ppt/theme/theme1.xml><?xml version="1.0" encoding="utf-8"?>
<a:theme xmlns:a="http://schemas.openxmlformats.org/drawingml/2006/main" name="Slide_Master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4</TotalTime>
  <Words>1566</Words>
  <Application>Microsoft Office PowerPoint</Application>
  <PresentationFormat>On-screen Show (4:3)</PresentationFormat>
  <Paragraphs>314</Paragraphs>
  <Slides>17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 Unicode MS</vt:lpstr>
      <vt:lpstr>Microsoft YaHei</vt:lpstr>
      <vt:lpstr>Arial</vt:lpstr>
      <vt:lpstr>Arial+FPEF</vt:lpstr>
      <vt:lpstr>Calibri</vt:lpstr>
      <vt:lpstr>Cambria</vt:lpstr>
      <vt:lpstr>StoneSerif</vt:lpstr>
      <vt:lpstr>Times</vt:lpstr>
      <vt:lpstr>Times New Roman</vt:lpstr>
      <vt:lpstr>Verdana</vt:lpstr>
      <vt:lpstr>Wingdings</vt:lpstr>
      <vt:lpstr>Slide_Master</vt:lpstr>
      <vt:lpstr>PowerPoint Presentation</vt:lpstr>
      <vt:lpstr>Session 1</vt:lpstr>
      <vt:lpstr>Objectives of the training</vt:lpstr>
      <vt:lpstr>How does this training fit with other courses?</vt:lpstr>
      <vt:lpstr>Methodological references for the course</vt:lpstr>
      <vt:lpstr>PowerPoint Presentation</vt:lpstr>
      <vt:lpstr>PowerPoint Presentation</vt:lpstr>
      <vt:lpstr>Projects and Programmes</vt:lpstr>
      <vt:lpstr>PowerPoint Presentation</vt:lpstr>
      <vt:lpstr>Steps in the cycle</vt:lpstr>
      <vt:lpstr>PowerPoint Presentation</vt:lpstr>
      <vt:lpstr>PowerPoint Presentation</vt:lpstr>
      <vt:lpstr>The LFA to preparing projects and programmes</vt:lpstr>
      <vt:lpstr>The Logical Framework Approach</vt:lpstr>
      <vt:lpstr>The LFA goes beyond planning</vt:lpstr>
      <vt:lpstr>The Action Document is structured around the LFA</vt:lpstr>
      <vt:lpstr>Key messages</vt:lpstr>
    </vt:vector>
  </TitlesOfParts>
  <Company>European Commiss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urneem</dc:creator>
  <cp:lastModifiedBy>Snezana Andric</cp:lastModifiedBy>
  <cp:revision>714</cp:revision>
  <cp:lastPrinted>2015-08-25T12:52:14Z</cp:lastPrinted>
  <dcterms:created xsi:type="dcterms:W3CDTF">2011-10-28T10:25:18Z</dcterms:created>
  <dcterms:modified xsi:type="dcterms:W3CDTF">2016-01-05T10:59:59Z</dcterms:modified>
</cp:coreProperties>
</file>